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3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4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6" r:id="rId5"/>
    <p:sldMasterId id="2147483740" r:id="rId6"/>
    <p:sldMasterId id="2147483751" r:id="rId7"/>
    <p:sldMasterId id="2147483784" r:id="rId8"/>
  </p:sldMasterIdLst>
  <p:notesMasterIdLst>
    <p:notesMasterId r:id="rId28"/>
  </p:notesMasterIdLst>
  <p:handoutMasterIdLst>
    <p:handoutMasterId r:id="rId29"/>
  </p:handoutMasterIdLst>
  <p:sldIdLst>
    <p:sldId id="383" r:id="rId9"/>
    <p:sldId id="541" r:id="rId10"/>
    <p:sldId id="593" r:id="rId11"/>
    <p:sldId id="2171" r:id="rId12"/>
    <p:sldId id="2172" r:id="rId13"/>
    <p:sldId id="419" r:id="rId14"/>
    <p:sldId id="420" r:id="rId15"/>
    <p:sldId id="439" r:id="rId16"/>
    <p:sldId id="407" r:id="rId17"/>
    <p:sldId id="432" r:id="rId18"/>
    <p:sldId id="433" r:id="rId19"/>
    <p:sldId id="2223" r:id="rId20"/>
    <p:sldId id="278" r:id="rId21"/>
    <p:sldId id="301" r:id="rId22"/>
    <p:sldId id="2224" r:id="rId23"/>
    <p:sldId id="268" r:id="rId24"/>
    <p:sldId id="312" r:id="rId25"/>
    <p:sldId id="2182" r:id="rId26"/>
    <p:sldId id="2183" r:id="rId27"/>
  </p:sldIdLst>
  <p:sldSz cx="9144000" cy="5715000" type="screen16x10"/>
  <p:notesSz cx="7102475" cy="9388475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>
          <p15:clr>
            <a:srgbClr val="A4A3A4"/>
          </p15:clr>
        </p15:guide>
        <p15:guide id="2" pos="38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F10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B72D3D-74F3-4481-9F61-C2835F069159}" v="7" dt="2023-03-17T19:46:53.1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238" autoAdjust="0"/>
    <p:restoredTop sz="94660"/>
  </p:normalViewPr>
  <p:slideViewPr>
    <p:cSldViewPr snapToGrid="0" showGuides="1">
      <p:cViewPr varScale="1">
        <p:scale>
          <a:sx n="132" d="100"/>
          <a:sy n="132" d="100"/>
        </p:scale>
        <p:origin x="612" y="126"/>
      </p:cViewPr>
      <p:guideLst>
        <p:guide orient="horz" pos="408"/>
        <p:guide pos="3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936"/>
    </p:cViewPr>
  </p:sorterViewPr>
  <p:notesViewPr>
    <p:cSldViewPr snapToGrid="0" showGuides="1">
      <p:cViewPr varScale="1">
        <p:scale>
          <a:sx n="70" d="100"/>
          <a:sy n="70" d="100"/>
        </p:scale>
        <p:origin x="-2814" y="-90"/>
      </p:cViewPr>
      <p:guideLst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tags" Target="tags/tag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nny Chou" userId="03bd2967-cb4b-4c02-a741-15c0f5748226" providerId="ADAL" clId="{676668CE-59BC-4688-892E-9BD3E634424B}"/>
    <pc:docChg chg="custSel modSld">
      <pc:chgData name="Bonny Chou" userId="03bd2967-cb4b-4c02-a741-15c0f5748226" providerId="ADAL" clId="{676668CE-59BC-4688-892E-9BD3E634424B}" dt="2020-05-11T18:12:16.205" v="1" actId="27636"/>
      <pc:docMkLst>
        <pc:docMk/>
      </pc:docMkLst>
      <pc:sldChg chg="modSp">
        <pc:chgData name="Bonny Chou" userId="03bd2967-cb4b-4c02-a741-15c0f5748226" providerId="ADAL" clId="{676668CE-59BC-4688-892E-9BD3E634424B}" dt="2020-05-11T18:12:16.205" v="1" actId="27636"/>
        <pc:sldMkLst>
          <pc:docMk/>
          <pc:sldMk cId="3269192225" sldId="407"/>
        </pc:sldMkLst>
        <pc:spChg chg="mod">
          <ac:chgData name="Bonny Chou" userId="03bd2967-cb4b-4c02-a741-15c0f5748226" providerId="ADAL" clId="{676668CE-59BC-4688-892E-9BD3E634424B}" dt="2020-05-11T18:12:16.205" v="1" actId="27636"/>
          <ac:spMkLst>
            <pc:docMk/>
            <pc:sldMk cId="3269192225" sldId="407"/>
            <ac:spMk id="4" creationId="{00000000-0000-0000-0000-000000000000}"/>
          </ac:spMkLst>
        </pc:spChg>
      </pc:sldChg>
    </pc:docChg>
  </pc:docChgLst>
  <pc:docChgLst>
    <pc:chgData name="Brianna Moriarty" userId="d5bc71a8-2b94-444c-a867-1e9e4f28239b" providerId="ADAL" clId="{E9B72D3D-74F3-4481-9F61-C2835F069159}"/>
    <pc:docChg chg="modSld">
      <pc:chgData name="Brianna Moriarty" userId="d5bc71a8-2b94-444c-a867-1e9e4f28239b" providerId="ADAL" clId="{E9B72D3D-74F3-4481-9F61-C2835F069159}" dt="2023-03-17T19:45:49.559" v="0" actId="1036"/>
      <pc:docMkLst>
        <pc:docMk/>
      </pc:docMkLst>
      <pc:sldChg chg="modSp mod">
        <pc:chgData name="Brianna Moriarty" userId="d5bc71a8-2b94-444c-a867-1e9e4f28239b" providerId="ADAL" clId="{E9B72D3D-74F3-4481-9F61-C2835F069159}" dt="2023-03-17T19:45:49.559" v="0" actId="1036"/>
        <pc:sldMkLst>
          <pc:docMk/>
          <pc:sldMk cId="2585349316" sldId="593"/>
        </pc:sldMkLst>
        <pc:picChg chg="mod">
          <ac:chgData name="Brianna Moriarty" userId="d5bc71a8-2b94-444c-a867-1e9e4f28239b" providerId="ADAL" clId="{E9B72D3D-74F3-4481-9F61-C2835F069159}" dt="2023-03-17T19:45:49.559" v="0" actId="1036"/>
          <ac:picMkLst>
            <pc:docMk/>
            <pc:sldMk cId="2585349316" sldId="593"/>
            <ac:picMk id="16" creationId="{FF7A479F-7613-47C0-A07B-88DF817B8B8B}"/>
          </ac:picMkLst>
        </pc:picChg>
        <pc:picChg chg="mod">
          <ac:chgData name="Brianna Moriarty" userId="d5bc71a8-2b94-444c-a867-1e9e4f28239b" providerId="ADAL" clId="{E9B72D3D-74F3-4481-9F61-C2835F069159}" dt="2023-03-17T19:45:49.559" v="0" actId="1036"/>
          <ac:picMkLst>
            <pc:docMk/>
            <pc:sldMk cId="2585349316" sldId="593"/>
            <ac:picMk id="17" creationId="{AEF7850F-646F-4876-97F6-46474A0FC2DD}"/>
          </ac:picMkLst>
        </pc:picChg>
        <pc:picChg chg="mod">
          <ac:chgData name="Brianna Moriarty" userId="d5bc71a8-2b94-444c-a867-1e9e4f28239b" providerId="ADAL" clId="{E9B72D3D-74F3-4481-9F61-C2835F069159}" dt="2023-03-17T19:45:49.559" v="0" actId="1036"/>
          <ac:picMkLst>
            <pc:docMk/>
            <pc:sldMk cId="2585349316" sldId="593"/>
            <ac:picMk id="18" creationId="{6C873A0C-DFBD-4095-B70D-E408539F04EB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9E86745E-A447-4D06-B88F-9BEDD46D3AB3}" type="datetimeFigureOut">
              <a:rPr lang="en-US" smtClean="0"/>
              <a:t>03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E6D60220-C3C7-4C49-86C8-C08494DD3D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967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B11511-07DA-49CA-819C-1B940DEF887D}" type="datetimeFigureOut">
              <a:rPr lang="en-US" smtClean="0"/>
              <a:t>03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6600" y="704850"/>
            <a:ext cx="5629275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13" y="4459288"/>
            <a:ext cx="5683250" cy="4224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6988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725" y="8916988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04315-58A0-46EB-B4B2-A8084F4221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661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ustomer Insight: </a:t>
            </a: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rgbClr val="58585A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[What is the customer dealing with?  </a:t>
            </a:r>
            <a:r>
              <a:rPr kumimoji="0" lang="en-US" sz="1200" b="0" i="0" u="none" strike="noStrike" cap="none" normalizeH="0" dirty="0" err="1">
                <a:ln>
                  <a:noFill/>
                </a:ln>
                <a:solidFill>
                  <a:srgbClr val="58585A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ainpoints</a:t>
            </a: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rgbClr val="58585A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?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rgbClr val="58585A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ustomer Benefit: [What does the customer want to be able to do?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Gap in the market: What’s the problem with current solutions?  Why does status quo not work?  What is the market need?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AutoNum type="arabicPeriod"/>
              <a:tabLst/>
            </a:pPr>
            <a:r>
              <a:rPr kumimoji="0" lang="en-US" sz="12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pson’s Value Prop: </a:t>
            </a:r>
            <a:r>
              <a:rPr lang="en-US" sz="1200" dirty="0">
                <a:solidFill>
                  <a:srgbClr val="58585A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Why does our solution fill the gap in the market?</a:t>
            </a:r>
          </a:p>
          <a:p>
            <a:pPr marL="228600" marR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AutoNum type="arabicPeriod"/>
              <a:tabLst/>
            </a:pPr>
            <a:r>
              <a:rPr lang="en-US" sz="1200" dirty="0">
                <a:solidFill>
                  <a:srgbClr val="58585A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What makes us special/different?  </a:t>
            </a:r>
            <a:endParaRPr kumimoji="0" lang="en-US" sz="1200" b="0" i="0" u="none" strike="noStrike" cap="none" normalizeH="0" dirty="0">
              <a:ln>
                <a:noFill/>
              </a:ln>
              <a:solidFill>
                <a:srgbClr val="58585A"/>
              </a:solidFill>
              <a:effectLst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cap="none" normalizeH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507632-B897-2A45-8070-EE028A0B1F8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33894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3.jpeg"/><Relationship Id="rId4" Type="http://schemas.openxmlformats.org/officeDocument/2006/relationships/image" Target="../media/image27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4.jpeg"/><Relationship Id="rId4" Type="http://schemas.openxmlformats.org/officeDocument/2006/relationships/image" Target="../media/image31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5.jpeg"/><Relationship Id="rId4" Type="http://schemas.openxmlformats.org/officeDocument/2006/relationships/image" Target="../media/image31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6.jpeg"/><Relationship Id="rId4" Type="http://schemas.openxmlformats.org/officeDocument/2006/relationships/image" Target="../media/image27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7.jpeg"/><Relationship Id="rId4" Type="http://schemas.openxmlformats.org/officeDocument/2006/relationships/image" Target="../media/image31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9.jpe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1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6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8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6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5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028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 Same Side Corner Rectangle 3"/>
          <p:cNvSpPr/>
          <p:nvPr userDrawn="1"/>
        </p:nvSpPr>
        <p:spPr bwMode="auto">
          <a:xfrm rot="5400000">
            <a:off x="1399382" y="-589755"/>
            <a:ext cx="4068763" cy="686752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457" y="993093"/>
            <a:ext cx="5773655" cy="2266943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00" b="0" i="0" kern="1200" cap="all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Presentation title</a:t>
            </a:r>
            <a:br>
              <a:rPr lang="en-US" dirty="0"/>
            </a:br>
            <a:r>
              <a:rPr lang="en-US" dirty="0"/>
              <a:t>slide – opt 1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44699" y="3634894"/>
            <a:ext cx="4005262" cy="769937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60"/>
              </a:spcBef>
              <a:buFontTx/>
              <a:buNone/>
              <a:defRPr sz="1100" kern="1200" cap="all" baseline="0">
                <a:solidFill>
                  <a:schemeClr val="tx2"/>
                </a:solidFill>
                <a:latin typeface="+mn-lt"/>
                <a:cs typeface="A Truer Blue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867400" y="2518833"/>
            <a:ext cx="2667000" cy="2286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4600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 Line Up and Feature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96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 Same Side Corner Rectangle 11"/>
          <p:cNvSpPr/>
          <p:nvPr userDrawn="1"/>
        </p:nvSpPr>
        <p:spPr bwMode="auto">
          <a:xfrm>
            <a:off x="2428879" y="3500438"/>
            <a:ext cx="1389063" cy="17383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 Same Side Corner Rectangle 13"/>
          <p:cNvSpPr/>
          <p:nvPr userDrawn="1"/>
        </p:nvSpPr>
        <p:spPr bwMode="auto">
          <a:xfrm>
            <a:off x="6856413" y="1719263"/>
            <a:ext cx="1389062" cy="3519487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" name="Round Same Side Corner Rectangle 14"/>
          <p:cNvSpPr/>
          <p:nvPr userDrawn="1"/>
        </p:nvSpPr>
        <p:spPr bwMode="auto">
          <a:xfrm>
            <a:off x="5380038" y="2319338"/>
            <a:ext cx="1390650" cy="29194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 Same Side Corner Rectangle 15"/>
          <p:cNvSpPr/>
          <p:nvPr userDrawn="1"/>
        </p:nvSpPr>
        <p:spPr bwMode="auto">
          <a:xfrm>
            <a:off x="3903663" y="2916238"/>
            <a:ext cx="1390650" cy="23225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2457192" y="37526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4 Product line up and features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2450643" y="3211870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3914006" y="2621353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5385579" y="2030838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6865407" y="1440321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889492" y="19810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3936742" y="31621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5409942" y="25715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1838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4336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4539174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y Ep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523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Why Epson?</a:t>
            </a:r>
          </a:p>
        </p:txBody>
      </p:sp>
    </p:spTree>
    <p:extLst>
      <p:ext uri="{BB962C8B-B14F-4D97-AF65-F5344CB8AC3E}">
        <p14:creationId xmlns:p14="http://schemas.microsoft.com/office/powerpoint/2010/main" val="241748785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Takeaw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7620"/>
            <a:ext cx="8229600" cy="7934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" y="1333500"/>
            <a:ext cx="8229600" cy="304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ounded Rectangle 8"/>
          <p:cNvSpPr/>
          <p:nvPr userDrawn="1"/>
        </p:nvSpPr>
        <p:spPr bwMode="auto">
          <a:xfrm>
            <a:off x="557212" y="4533900"/>
            <a:ext cx="8129587" cy="685800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90600" y="4610100"/>
            <a:ext cx="7239000" cy="533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49280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05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21930153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Insert your ow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2420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97580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asic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676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982608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434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38200" y="1562100"/>
            <a:ext cx="7086600" cy="3411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670734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972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38227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pso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epson_logo_ev_tag_ko.eps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267230"/>
            <a:ext cx="1079500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9102"/>
            <a:ext cx="6781800" cy="508000"/>
          </a:xfrm>
        </p:spPr>
        <p:txBody>
          <a:bodyPr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57200" y="1125877"/>
            <a:ext cx="7086600" cy="3429000"/>
          </a:xfrm>
        </p:spPr>
        <p:txBody>
          <a:bodyPr/>
          <a:lstStyle>
            <a:lvl1pPr>
              <a:defRPr sz="3000">
                <a:latin typeface="Arial" pitchFamily="34" charset="0"/>
                <a:cs typeface="Arial" pitchFamily="34" charset="0"/>
              </a:defRPr>
            </a:lvl1pPr>
            <a:lvl2pPr>
              <a:defRPr sz="26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buFont typeface="Courier New" pitchFamily="49" charset="0"/>
              <a:buChar char="o"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E8E7A64-6B2F-484F-890A-8E160D667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41304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1EFACE7E-0031-4685-86A9-BCE25E9C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42A9E9DD-70F7-4BF1-A610-05643CF754A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 descr="epson_logo_ev_tag_4c.eps">
            <a:extLst>
              <a:ext uri="{FF2B5EF4-FFF2-40B4-BE49-F238E27FC236}">
                <a16:creationId xmlns:a16="http://schemas.microsoft.com/office/drawing/2014/main" id="{CA4E17D2-C0D6-4F00-A39D-FC081E39E9B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38BA66E-3589-4864-A787-9EEE79A167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114" y="1397000"/>
            <a:ext cx="2401887" cy="209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8426191"/>
      </p:ext>
    </p:extLst>
  </p:cSld>
  <p:clrMapOvr>
    <a:masterClrMapping/>
  </p:clrMapOvr>
  <p:transition spd="slow"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4057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Picture Placeholder 16"/>
          <p:cNvSpPr>
            <a:spLocks noGrp="1"/>
          </p:cNvSpPr>
          <p:nvPr>
            <p:ph type="pic" sz="quarter" idx="42"/>
          </p:nvPr>
        </p:nvSpPr>
        <p:spPr>
          <a:xfrm>
            <a:off x="188976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03136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3 Product line up and features slide – opt 3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406400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623824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20560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637984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6431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ps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9F49B96E-CBD5-40B1-856A-5FA2DFC0C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7DE2B820-6971-4744-8273-94FE8238D5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F54587E7-3B04-48D8-823F-89B40DC2919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generic_sm">
            <a:extLst>
              <a:ext uri="{FF2B5EF4-FFF2-40B4-BE49-F238E27FC236}">
                <a16:creationId xmlns:a16="http://schemas.microsoft.com/office/drawing/2014/main" id="{E2D2F172-9AF7-43C0-962A-9FB55E294A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113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9460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315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163120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pson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9B3AF6DF-8020-4FED-ADC9-2B40239E23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965C05DB-3A80-4A6D-ADF2-759F4588EF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1D39E5DB-873B-4BF8-9455-FED6E0C225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retail1_sm">
            <a:extLst>
              <a:ext uri="{FF2B5EF4-FFF2-40B4-BE49-F238E27FC236}">
                <a16:creationId xmlns:a16="http://schemas.microsoft.com/office/drawing/2014/main" id="{68BF3310-05D0-41FB-B0CF-237968A1875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700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2029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6610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574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pson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9A0442F7-F788-461D-BCD4-75DA6EF942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5A339D8B-A5F9-43D7-99F7-3C21D88146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EA644CA9-AD43-4FC9-AAC6-636066597B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financial3_sm">
            <a:extLst>
              <a:ext uri="{FF2B5EF4-FFF2-40B4-BE49-F238E27FC236}">
                <a16:creationId xmlns:a16="http://schemas.microsoft.com/office/drawing/2014/main" id="{A8FF1103-4F2E-449C-8563-8E7708EAB8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700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2029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6610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96413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pson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E920206F-C3F0-42A8-94E5-6A754C980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3091E8C4-72ED-4D4A-A02B-B42617E9D3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5B72D03C-6F00-4AA8-8270-65F98C1FB7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food2_sm">
            <a:extLst>
              <a:ext uri="{FF2B5EF4-FFF2-40B4-BE49-F238E27FC236}">
                <a16:creationId xmlns:a16="http://schemas.microsoft.com/office/drawing/2014/main" id="{C7DF44C4-BFCF-4C21-842B-C97534F50B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113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2029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76610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42409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ps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1AD1713C-9451-4F5C-860F-EA1FE7F47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F3F0EA40-F973-4D1E-8226-C9D26EA3BF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986170D7-7B72-41C5-A784-CDFBEF97259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supermrkt1_sm">
            <a:extLst>
              <a:ext uri="{FF2B5EF4-FFF2-40B4-BE49-F238E27FC236}">
                <a16:creationId xmlns:a16="http://schemas.microsoft.com/office/drawing/2014/main" id="{DB967BF9-BF29-4CFC-972F-1E3C6BF8B0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113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9460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315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133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Eps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06FFCE6A-C9CF-430F-AAB5-7B4444721E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9144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5F243143-D428-4B64-B13A-E8C8C83763E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43300" y="1397000"/>
            <a:ext cx="5600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08C8A75B-9CFF-483D-82F5-BDE8F679BF5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cover_health3_sm">
            <a:extLst>
              <a:ext uri="{FF2B5EF4-FFF2-40B4-BE49-F238E27FC236}">
                <a16:creationId xmlns:a16="http://schemas.microsoft.com/office/drawing/2014/main" id="{EA6B8C73-33D0-4BE8-9A83-E8EAAF35FA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113" y="1397000"/>
            <a:ext cx="24003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79460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4315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99444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Epson 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epson_logo_ev_tag_4c.eps">
            <a:extLst>
              <a:ext uri="{FF2B5EF4-FFF2-40B4-BE49-F238E27FC236}">
                <a16:creationId xmlns:a16="http://schemas.microsoft.com/office/drawing/2014/main" id="{6A4561F0-2F66-4E4D-A280-03FA3B2E780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923914CF-1B24-4367-AB50-C11AF335A64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52500"/>
            <a:ext cx="9144000" cy="400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imagebar_13_sm">
            <a:extLst>
              <a:ext uri="{FF2B5EF4-FFF2-40B4-BE49-F238E27FC236}">
                <a16:creationId xmlns:a16="http://schemas.microsoft.com/office/drawing/2014/main" id="{6058A1C4-610A-48D5-B81B-EB7F9F8A36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67956" y="2417276"/>
            <a:ext cx="5094845" cy="507999"/>
          </a:xfrm>
        </p:spPr>
        <p:txBody>
          <a:bodyPr/>
          <a:lstStyle>
            <a:lvl1pPr algn="ctr">
              <a:defRPr sz="2333" b="1">
                <a:solidFill>
                  <a:srgbClr val="FBD80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62538" y="2888178"/>
            <a:ext cx="5100263" cy="381000"/>
          </a:xfrm>
        </p:spPr>
        <p:txBody>
          <a:bodyPr/>
          <a:lstStyle>
            <a:lvl1pPr marL="0" indent="0" algn="ctr">
              <a:buNone/>
              <a:defRPr sz="1667">
                <a:solidFill>
                  <a:srgbClr val="FBD80E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131985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son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id="{A6C73DC6-FB06-4A5C-827B-1D2F297E96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9300" y="1397000"/>
            <a:ext cx="71247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97371F9F-63A9-4074-9BDD-357B7BEFBA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397000"/>
            <a:ext cx="1905000" cy="209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epson_logo_ev_tag_4c.eps">
            <a:extLst>
              <a:ext uri="{FF2B5EF4-FFF2-40B4-BE49-F238E27FC236}">
                <a16:creationId xmlns:a16="http://schemas.microsoft.com/office/drawing/2014/main" id="{A1E3D4F3-5E95-41D4-9B75-D3EA9BD4BDB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5169959"/>
            <a:ext cx="1092200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2258888" y="2036276"/>
            <a:ext cx="5094845" cy="507999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2263743" y="2507178"/>
            <a:ext cx="5100263" cy="381000"/>
          </a:xfrm>
        </p:spPr>
        <p:txBody>
          <a:bodyPr/>
          <a:lstStyle>
            <a:lvl1pPr marL="0" indent="0" algn="l">
              <a:buNone/>
              <a:defRPr sz="166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27E6D36-BE3C-4B34-A4CE-B3DCDC66193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598A6E-6813-4DCF-B914-FF6A848A294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322155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pso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3CFA2A68-3343-472D-8042-A5E4E60C1B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epson_logo_ev_tag_ko.eps">
            <a:extLst>
              <a:ext uri="{FF2B5EF4-FFF2-40B4-BE49-F238E27FC236}">
                <a16:creationId xmlns:a16="http://schemas.microsoft.com/office/drawing/2014/main" id="{7941014E-EE46-4771-B002-150F096A3E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267230"/>
            <a:ext cx="1079500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9102"/>
            <a:ext cx="6781800" cy="508000"/>
          </a:xfrm>
        </p:spPr>
        <p:txBody>
          <a:bodyPr/>
          <a:lstStyle>
            <a:lvl1pPr algn="l">
              <a:defRPr sz="233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57200" y="1125877"/>
            <a:ext cx="7086600" cy="3429000"/>
          </a:xfrm>
        </p:spPr>
        <p:txBody>
          <a:bodyPr/>
          <a:lstStyle>
            <a:lvl1pPr>
              <a:defRPr sz="2500">
                <a:latin typeface="Arial" pitchFamily="34" charset="0"/>
                <a:cs typeface="Arial" pitchFamily="34" charset="0"/>
              </a:defRPr>
            </a:lvl1pPr>
            <a:lvl2pPr>
              <a:defRPr sz="2167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buFont typeface="Courier New" pitchFamily="49" charset="0"/>
              <a:buChar char="o"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19795D-596B-4B80-B473-99E4BA5E7D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722BCD4-63A7-4EDF-944A-D6C08A4DC18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77394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190500"/>
            <a:ext cx="8382000" cy="8915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84048" y="1082040"/>
            <a:ext cx="6515100" cy="26921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396274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8094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11061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6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510032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8" name="Picture Placeholder 16"/>
          <p:cNvSpPr>
            <a:spLocks noGrp="1"/>
          </p:cNvSpPr>
          <p:nvPr>
            <p:ph type="pic" sz="quarter" idx="40"/>
          </p:nvPr>
        </p:nvSpPr>
        <p:spPr>
          <a:xfrm>
            <a:off x="254000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5" name="Picture Placeholder 16"/>
          <p:cNvSpPr>
            <a:spLocks noGrp="1"/>
          </p:cNvSpPr>
          <p:nvPr>
            <p:ph type="pic" sz="quarter" idx="37"/>
          </p:nvPr>
        </p:nvSpPr>
        <p:spPr>
          <a:xfrm>
            <a:off x="638048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26745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97713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5 Product line up and features slide – opt 4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241681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3" name="Picture Placeholder 16"/>
          <p:cNvSpPr>
            <a:spLocks noGrp="1"/>
          </p:cNvSpPr>
          <p:nvPr>
            <p:ph type="pic" sz="quarter" idx="35"/>
          </p:nvPr>
        </p:nvSpPr>
        <p:spPr>
          <a:xfrm>
            <a:off x="379984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121920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41"/>
          </p:nvPr>
        </p:nvSpPr>
        <p:spPr>
          <a:xfrm>
            <a:off x="36969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1878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Slide with Bullet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924395"/>
              </p:ext>
            </p:ext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16483"/>
            <a:ext cx="8229600" cy="952500"/>
          </a:xfrm>
        </p:spPr>
        <p:txBody>
          <a:bodyPr>
            <a:normAutofit/>
          </a:bodyPr>
          <a:lstStyle>
            <a:lvl1pPr>
              <a:defRPr sz="3200" baseline="0"/>
            </a:lvl1pPr>
          </a:lstStyle>
          <a:p>
            <a:r>
              <a:rPr lang="en-US" dirty="0"/>
              <a:t>Chart/Graphics/Text Slide – Opt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199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Bullet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372265"/>
              </p:ext>
            </p:ext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09600"/>
            <a:ext cx="8229600" cy="9525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hart/Graphic/Text Slide – Opt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1"/>
            <a:ext cx="4041775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648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43075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/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8485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Picture/Text slide – Opt 3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44663" y="3101902"/>
            <a:ext cx="3854450" cy="15335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44663" y="2853390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44663" y="1592844"/>
            <a:ext cx="3854450" cy="126839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53000" y="1756834"/>
            <a:ext cx="26670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553200" y="3280834"/>
            <a:ext cx="21336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64745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, Big Idea, Take Awa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9561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749135" y="1489871"/>
            <a:ext cx="4068763" cy="272097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653217" y="1278453"/>
            <a:ext cx="1914525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Body “Testimonial / Highlight Feature / Big Idea Take Away Slid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119438" y="1337447"/>
            <a:ext cx="2703512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05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6100" y="1330327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marR="0" indent="-173736" algn="l" defTabSz="914400" rtl="0" eaLnBrk="1" fontAlgn="base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="1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05212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or Plan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10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4541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8273" y="1007526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s / plan slide – opt 1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800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35512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00877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, Plan, Analytical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0167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27"/>
          <p:cNvSpPr>
            <a:spLocks noChangeArrowheads="1"/>
          </p:cNvSpPr>
          <p:nvPr userDrawn="1"/>
        </p:nvSpPr>
        <p:spPr bwMode="auto">
          <a:xfrm>
            <a:off x="4953000" y="15668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31"/>
          <p:cNvSpPr>
            <a:spLocks noChangeArrowheads="1"/>
          </p:cNvSpPr>
          <p:nvPr userDrawn="1"/>
        </p:nvSpPr>
        <p:spPr bwMode="auto">
          <a:xfrm>
            <a:off x="4953000" y="33702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6756404" y="15668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16"/>
          <p:cNvSpPr/>
          <p:nvPr userDrawn="1"/>
        </p:nvSpPr>
        <p:spPr bwMode="auto">
          <a:xfrm>
            <a:off x="6756404" y="33702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 flipH="1" flipV="1">
            <a:off x="6602417" y="1531938"/>
            <a:ext cx="1587" cy="3378200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 rot="5400000" flipH="1" flipV="1">
            <a:off x="6602415" y="1531940"/>
            <a:ext cx="1587" cy="3379787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 / plan slide – opt 2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>
                <a:solidFill>
                  <a:schemeClr val="bg2"/>
                </a:solidFill>
              </a:defRPr>
            </a:lvl1pPr>
            <a:lvl2pPr marL="173736" marR="0" indent="-173736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aseline="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5640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93674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75640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693674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495808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13842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95808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513842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745524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5999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/>
          <p:nvPr userDrawn="1"/>
        </p:nvSpPr>
        <p:spPr bwMode="auto">
          <a:xfrm>
            <a:off x="5667375" y="1601788"/>
            <a:ext cx="2408238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623890" y="1601788"/>
            <a:ext cx="2408237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ounded Rectangle 7"/>
          <p:cNvSpPr/>
          <p:nvPr userDrawn="1"/>
        </p:nvSpPr>
        <p:spPr bwMode="auto">
          <a:xfrm>
            <a:off x="3144842" y="1601788"/>
            <a:ext cx="2409825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7849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3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46113" y="1609727"/>
            <a:ext cx="2341562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1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15754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2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s slide – opt 1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85216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3248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81280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2683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76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28003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13684" y="1164167"/>
            <a:ext cx="5963316" cy="49191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ster presentation title slide – opt 2</a:t>
            </a: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4917444" y="2603500"/>
            <a:ext cx="3454399" cy="17856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4395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or Flow Chart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048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 bwMode="auto">
          <a:xfrm>
            <a:off x="1989138" y="3405188"/>
            <a:ext cx="0" cy="7604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 userDrawn="1"/>
        </p:nvCxnSpPr>
        <p:spPr bwMode="auto">
          <a:xfrm>
            <a:off x="7131050" y="3389313"/>
            <a:ext cx="6350" cy="5984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 userDrawn="1"/>
        </p:nvCxnSpPr>
        <p:spPr bwMode="auto">
          <a:xfrm>
            <a:off x="4572000" y="1958977"/>
            <a:ext cx="0" cy="149542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ounded Rectangle 11"/>
          <p:cNvSpPr/>
          <p:nvPr userDrawn="1"/>
        </p:nvSpPr>
        <p:spPr bwMode="auto">
          <a:xfrm>
            <a:off x="779464" y="3746500"/>
            <a:ext cx="2403475" cy="13668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Rounded Rectangle 35"/>
          <p:cNvSpPr>
            <a:spLocks noChangeArrowheads="1"/>
          </p:cNvSpPr>
          <p:nvPr userDrawn="1"/>
        </p:nvSpPr>
        <p:spPr bwMode="auto">
          <a:xfrm>
            <a:off x="5935667" y="3746500"/>
            <a:ext cx="2403475" cy="136683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ounded Rectangle 18"/>
          <p:cNvSpPr>
            <a:spLocks noChangeArrowheads="1"/>
          </p:cNvSpPr>
          <p:nvPr userDrawn="1"/>
        </p:nvSpPr>
        <p:spPr bwMode="auto">
          <a:xfrm>
            <a:off x="3370266" y="2062165"/>
            <a:ext cx="2403475" cy="123983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779464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5935667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29"/>
          <p:cNvSpPr>
            <a:spLocks noChangeArrowheads="1"/>
          </p:cNvSpPr>
          <p:nvPr userDrawn="1"/>
        </p:nvSpPr>
        <p:spPr bwMode="auto">
          <a:xfrm>
            <a:off x="3360738" y="1476376"/>
            <a:ext cx="2405062" cy="496888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>
            <a:off x="3182942" y="3455988"/>
            <a:ext cx="27527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717657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 slides – opt 2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464560" y="146081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3441700" y="21383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88392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86106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04520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02234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31658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1382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table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8" hasCustomPrompt="1"/>
          </p:nvPr>
        </p:nvSpPr>
        <p:spPr>
          <a:xfrm>
            <a:off x="2514600" y="1841500"/>
            <a:ext cx="5715000" cy="321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936492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259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able Placeholder 7"/>
          <p:cNvSpPr>
            <a:spLocks noGrp="1"/>
          </p:cNvSpPr>
          <p:nvPr>
            <p:ph type="tbl" sz="quarter" idx="17" hasCustomPrompt="1"/>
          </p:nvPr>
        </p:nvSpPr>
        <p:spPr>
          <a:xfrm>
            <a:off x="2980144" y="1440498"/>
            <a:ext cx="5320579" cy="3446462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noProof="0" dirty="0"/>
              <a:t>Tab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3189636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table slide – Opt 2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651953"/>
            <a:ext cx="177038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28223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17153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5549003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0928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5003236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y Ep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387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Why Epson?</a:t>
            </a:r>
          </a:p>
        </p:txBody>
      </p:sp>
    </p:spTree>
    <p:extLst>
      <p:ext uri="{BB962C8B-B14F-4D97-AF65-F5344CB8AC3E}">
        <p14:creationId xmlns:p14="http://schemas.microsoft.com/office/powerpoint/2010/main" val="22315101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Takeaw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7620"/>
            <a:ext cx="8229600" cy="7934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" y="1333500"/>
            <a:ext cx="8229600" cy="304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ounded Rectangle 8"/>
          <p:cNvSpPr/>
          <p:nvPr userDrawn="1"/>
        </p:nvSpPr>
        <p:spPr bwMode="auto">
          <a:xfrm>
            <a:off x="557212" y="4533900"/>
            <a:ext cx="8129587" cy="685800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90600" y="4610100"/>
            <a:ext cx="7239000" cy="533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6389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5410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5365916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Insert your ow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5362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56108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090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38200" y="1562100"/>
            <a:ext cx="7086600" cy="3411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28323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189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 Same Side Corner Rectangle 8"/>
          <p:cNvSpPr/>
          <p:nvPr userDrawn="1"/>
        </p:nvSpPr>
        <p:spPr bwMode="auto">
          <a:xfrm>
            <a:off x="3354741" y="1585915"/>
            <a:ext cx="2398713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5932837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775050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8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347157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86299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600" b="1" kern="1200" cap="all">
                <a:solidFill>
                  <a:schemeClr val="accent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344363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3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01411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762000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in agenda slide – opt 1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9093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604205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75814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5177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76744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pso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epson_logo_ev_tag_ko.eps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267230"/>
            <a:ext cx="1079500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9102"/>
            <a:ext cx="6781800" cy="508000"/>
          </a:xfrm>
        </p:spPr>
        <p:txBody>
          <a:bodyPr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57200" y="1125877"/>
            <a:ext cx="7086600" cy="3429000"/>
          </a:xfrm>
        </p:spPr>
        <p:txBody>
          <a:bodyPr/>
          <a:lstStyle>
            <a:lvl1pPr>
              <a:defRPr sz="3000">
                <a:latin typeface="Arial" pitchFamily="34" charset="0"/>
                <a:cs typeface="Arial" pitchFamily="34" charset="0"/>
              </a:defRPr>
            </a:lvl1pPr>
            <a:lvl2pPr>
              <a:defRPr sz="26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buFont typeface="Courier New" pitchFamily="49" charset="0"/>
              <a:buChar char="o"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E8E7A64-6B2F-484F-890A-8E160D667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4058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02284-00F7-4248-9226-8EB96C0B16EB}" type="slidenum">
              <a:rPr lang="en-US">
                <a:solidFill>
                  <a:srgbClr val="4B7EBC">
                    <a:lumMod val="40000"/>
                    <a:lumOff val="6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B7EBC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2211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BBF14F-5150-8345-803E-0BB605D2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2280"/>
            <a:ext cx="9144000" cy="47127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C4D78DC-CE1F-3846-87BC-C1E37BBF6D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3999" cy="11182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EC7131-C669-8F44-88D3-55CD45EC74E3}"/>
              </a:ext>
            </a:extLst>
          </p:cNvPr>
          <p:cNvCxnSpPr>
            <a:cxnSpLocks/>
          </p:cNvCxnSpPr>
          <p:nvPr userDrawn="1"/>
        </p:nvCxnSpPr>
        <p:spPr>
          <a:xfrm>
            <a:off x="432055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98A79825-CB82-974C-B88F-7A2338822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580"/>
            <a:ext cx="7886700" cy="1104636"/>
          </a:xfrm>
        </p:spPr>
        <p:txBody>
          <a:bodyPr>
            <a:noAutofit/>
          </a:bodyPr>
          <a:lstStyle>
            <a:lvl1pPr algn="ctr">
              <a:defRPr sz="375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D10765-8BE7-874C-A2CA-0E0D720C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494" y="1805940"/>
            <a:ext cx="6583680" cy="207798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D2A9BD9-70FB-714C-ABF3-21BE9453AED8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 dirty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8DB1835-DC56-F144-92C7-5CC0293F8EDF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 dirty="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0B3C165-2CCD-7846-A92D-C6168B818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CCC6E4-79EB-F445-A438-512EEBAE0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34407D-8487-DA4D-9A3E-3B81A0F6FD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7647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BBF14F-5150-8345-803E-0BB605D2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4262"/>
            <a:ext cx="9144000" cy="472073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E1B5AD-4063-4446-87DC-2CE910364B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11182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98A79825-CB82-974C-B88F-7A2338822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580"/>
            <a:ext cx="7886700" cy="1104636"/>
          </a:xfrm>
        </p:spPr>
        <p:txBody>
          <a:bodyPr>
            <a:noAutofit/>
          </a:bodyPr>
          <a:lstStyle>
            <a:lvl1pPr algn="ctr">
              <a:defRPr sz="375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D10765-8BE7-874C-A2CA-0E0D720C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494" y="1630680"/>
            <a:ext cx="6583680" cy="207798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A07BE6-354B-574C-888F-7360B4343A5F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7101A69-5E75-7C4A-8A57-531747A48F9B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59FA7B-31C6-BA4D-AAAB-EBD0432D2BFF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4CE4266A-5EBF-524E-927F-9AAFD2D61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9A6A9D-F651-F348-8CB1-A010413147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3B53A7D-7B13-EF44-B5A4-1441400F19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228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 Same Side Corner Rectangle 3"/>
          <p:cNvSpPr/>
          <p:nvPr userDrawn="1"/>
        </p:nvSpPr>
        <p:spPr bwMode="auto">
          <a:xfrm rot="5400000">
            <a:off x="1399382" y="-589755"/>
            <a:ext cx="4068763" cy="686752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457" y="993093"/>
            <a:ext cx="5773655" cy="2266943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00" b="0" i="0" kern="1200" cap="all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Presentation title</a:t>
            </a:r>
            <a:br>
              <a:rPr lang="en-US" dirty="0"/>
            </a:br>
            <a:r>
              <a:rPr lang="en-US" dirty="0"/>
              <a:t>slide – opt 1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44699" y="3634894"/>
            <a:ext cx="4005262" cy="769937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60"/>
              </a:spcBef>
              <a:buFontTx/>
              <a:buNone/>
              <a:defRPr sz="1100" kern="1200" cap="all" baseline="0">
                <a:solidFill>
                  <a:schemeClr val="tx2"/>
                </a:solidFill>
                <a:latin typeface="+mn-lt"/>
                <a:cs typeface="A Truer Blue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867400" y="2518833"/>
            <a:ext cx="2667000" cy="2286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8211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28003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13684" y="1164167"/>
            <a:ext cx="5963316" cy="49191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ster presentation title slide – opt 2</a:t>
            </a: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4917444" y="2603500"/>
            <a:ext cx="3454399" cy="17856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03352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 Same Side Corner Rectangle 8"/>
          <p:cNvSpPr/>
          <p:nvPr userDrawn="1"/>
        </p:nvSpPr>
        <p:spPr bwMode="auto">
          <a:xfrm>
            <a:off x="3354741" y="1585915"/>
            <a:ext cx="2398713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5932837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775050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8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347157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86299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600" b="1" kern="1200" cap="all">
                <a:solidFill>
                  <a:schemeClr val="accent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344363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3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01411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762000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in agenda slide – opt 1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9093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604205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00267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759" y="643153"/>
            <a:ext cx="8229600" cy="952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Main Agenda Slide – Opt 2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24784" y="1641896"/>
            <a:ext cx="3971017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572000" y="1650172"/>
            <a:ext cx="4191000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8042450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62344" y="2264834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Main chapter slide – Opt 1</a:t>
            </a:r>
          </a:p>
        </p:txBody>
      </p:sp>
    </p:spTree>
    <p:extLst>
      <p:ext uri="{BB962C8B-B14F-4D97-AF65-F5344CB8AC3E}">
        <p14:creationId xmlns:p14="http://schemas.microsoft.com/office/powerpoint/2010/main" val="26079756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172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759" y="643153"/>
            <a:ext cx="8229600" cy="952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Main Agenda Slide – Opt 2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24784" y="1641896"/>
            <a:ext cx="3971017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572000" y="1650172"/>
            <a:ext cx="4191000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6873098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50185" y="2069773"/>
            <a:ext cx="4114800" cy="135175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13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40016" y="1014232"/>
            <a:ext cx="7460984" cy="952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Main Chapter slide – opt 2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34000" y="2772834"/>
            <a:ext cx="3048000" cy="194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8259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944881" y="2891740"/>
            <a:ext cx="3454399" cy="14770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000501" y="994833"/>
            <a:ext cx="5057774" cy="661247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ub Chapter divider slide – opt 1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717098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01028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299079" y="1039815"/>
            <a:ext cx="4068763" cy="362108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1"/>
            <a:ext cx="4978753" cy="489902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Sub Chapter divider slide – opt 2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47688" y="1527175"/>
            <a:ext cx="3937000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2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22975" y="1079501"/>
            <a:ext cx="2503488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4560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2430463" y="1100138"/>
            <a:ext cx="6184900" cy="3800476"/>
          </a:xfrm>
          <a:prstGeom prst="rect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8"/>
          </p:nvPr>
        </p:nvSpPr>
        <p:spPr>
          <a:xfrm>
            <a:off x="2499043" y="1168400"/>
            <a:ext cx="6035357" cy="36677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2097437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Video Slid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357313"/>
            <a:ext cx="181102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13068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 Line Up and Feature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 Same Side Corner Rectangle 11"/>
          <p:cNvSpPr/>
          <p:nvPr userDrawn="1"/>
        </p:nvSpPr>
        <p:spPr bwMode="auto">
          <a:xfrm>
            <a:off x="2428879" y="3500438"/>
            <a:ext cx="1389063" cy="17383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 Same Side Corner Rectangle 13"/>
          <p:cNvSpPr/>
          <p:nvPr userDrawn="1"/>
        </p:nvSpPr>
        <p:spPr bwMode="auto">
          <a:xfrm>
            <a:off x="6856413" y="1719263"/>
            <a:ext cx="1389062" cy="3519487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" name="Round Same Side Corner Rectangle 14"/>
          <p:cNvSpPr/>
          <p:nvPr userDrawn="1"/>
        </p:nvSpPr>
        <p:spPr bwMode="auto">
          <a:xfrm>
            <a:off x="5380038" y="2319338"/>
            <a:ext cx="1390650" cy="29194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 Same Side Corner Rectangle 15"/>
          <p:cNvSpPr/>
          <p:nvPr userDrawn="1"/>
        </p:nvSpPr>
        <p:spPr bwMode="auto">
          <a:xfrm>
            <a:off x="3903663" y="2916238"/>
            <a:ext cx="1390650" cy="23225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2457192" y="37526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4 Product line up and features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2450643" y="3211870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3914006" y="2621353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5385579" y="2030838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6865407" y="1440321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889492" y="19810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3936742" y="31621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5409942" y="25715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0025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Picture Placeholder 16"/>
          <p:cNvSpPr>
            <a:spLocks noGrp="1"/>
          </p:cNvSpPr>
          <p:nvPr>
            <p:ph type="pic" sz="quarter" idx="42"/>
          </p:nvPr>
        </p:nvSpPr>
        <p:spPr>
          <a:xfrm>
            <a:off x="188976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03136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3 Product line up and features slide – opt 3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406400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623824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20560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637984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61819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11061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6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510032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8" name="Picture Placeholder 16"/>
          <p:cNvSpPr>
            <a:spLocks noGrp="1"/>
          </p:cNvSpPr>
          <p:nvPr>
            <p:ph type="pic" sz="quarter" idx="40"/>
          </p:nvPr>
        </p:nvSpPr>
        <p:spPr>
          <a:xfrm>
            <a:off x="254000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5" name="Picture Placeholder 16"/>
          <p:cNvSpPr>
            <a:spLocks noGrp="1"/>
          </p:cNvSpPr>
          <p:nvPr>
            <p:ph type="pic" sz="quarter" idx="37"/>
          </p:nvPr>
        </p:nvSpPr>
        <p:spPr>
          <a:xfrm>
            <a:off x="638048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26745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97713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5 Product line up and features slide – opt 4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241681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3" name="Picture Placeholder 16"/>
          <p:cNvSpPr>
            <a:spLocks noGrp="1"/>
          </p:cNvSpPr>
          <p:nvPr>
            <p:ph type="pic" sz="quarter" idx="35"/>
          </p:nvPr>
        </p:nvSpPr>
        <p:spPr>
          <a:xfrm>
            <a:off x="379984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121920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41"/>
          </p:nvPr>
        </p:nvSpPr>
        <p:spPr>
          <a:xfrm>
            <a:off x="36969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3090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Slide with Bullet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16483"/>
            <a:ext cx="8229600" cy="952500"/>
          </a:xfrm>
        </p:spPr>
        <p:txBody>
          <a:bodyPr>
            <a:normAutofit/>
          </a:bodyPr>
          <a:lstStyle>
            <a:lvl1pPr>
              <a:defRPr sz="3200" baseline="0"/>
            </a:lvl1pPr>
          </a:lstStyle>
          <a:p>
            <a:r>
              <a:rPr lang="en-US" dirty="0"/>
              <a:t>Chart/Graphics/Text Slide – Opt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1274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Bullet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09600"/>
            <a:ext cx="8229600" cy="9525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hart/Graphic/Text Slide – Opt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1"/>
            <a:ext cx="4041775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648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839295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/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Picture/Text slide – Opt 3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44663" y="3101902"/>
            <a:ext cx="3854450" cy="15335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44663" y="2853390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44663" y="1592844"/>
            <a:ext cx="3854450" cy="126839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53000" y="1756834"/>
            <a:ext cx="26670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553200" y="3280834"/>
            <a:ext cx="21336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74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742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62344" y="2264834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Main chapter slide – Opt 1</a:t>
            </a:r>
          </a:p>
        </p:txBody>
      </p:sp>
    </p:spTree>
    <p:extLst>
      <p:ext uri="{BB962C8B-B14F-4D97-AF65-F5344CB8AC3E}">
        <p14:creationId xmlns:p14="http://schemas.microsoft.com/office/powerpoint/2010/main" val="1863217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, Big Idea, Take Awa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749135" y="1489871"/>
            <a:ext cx="4068763" cy="272097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653217" y="1278453"/>
            <a:ext cx="1914525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Body “Testimonial / Highlight Feature / Big Idea Take Away Slid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119438" y="1337447"/>
            <a:ext cx="2703512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05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6100" y="1330327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marR="0" indent="-173736" algn="l" defTabSz="914400" rtl="0" eaLnBrk="1" fontAlgn="base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="1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00057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or Plan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4541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8273" y="1007526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s / plan slide – opt 1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800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35512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53462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, Plan, Analytical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27"/>
          <p:cNvSpPr>
            <a:spLocks noChangeArrowheads="1"/>
          </p:cNvSpPr>
          <p:nvPr userDrawn="1"/>
        </p:nvSpPr>
        <p:spPr bwMode="auto">
          <a:xfrm>
            <a:off x="4953000" y="15668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31"/>
          <p:cNvSpPr>
            <a:spLocks noChangeArrowheads="1"/>
          </p:cNvSpPr>
          <p:nvPr userDrawn="1"/>
        </p:nvSpPr>
        <p:spPr bwMode="auto">
          <a:xfrm>
            <a:off x="4953000" y="33702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6756404" y="15668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16"/>
          <p:cNvSpPr/>
          <p:nvPr userDrawn="1"/>
        </p:nvSpPr>
        <p:spPr bwMode="auto">
          <a:xfrm>
            <a:off x="6756404" y="33702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 flipH="1" flipV="1">
            <a:off x="6602417" y="1531938"/>
            <a:ext cx="1587" cy="3378200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 rot="5400000" flipH="1" flipV="1">
            <a:off x="6602415" y="1531940"/>
            <a:ext cx="1587" cy="3379787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 / plan slide – opt 2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>
                <a:solidFill>
                  <a:schemeClr val="bg2"/>
                </a:solidFill>
              </a:defRPr>
            </a:lvl1pPr>
            <a:lvl2pPr marL="173736" marR="0" indent="-173736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aseline="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5640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93674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75640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693674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495808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13842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95808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513842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247262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/>
          <p:nvPr userDrawn="1"/>
        </p:nvSpPr>
        <p:spPr bwMode="auto">
          <a:xfrm>
            <a:off x="5667375" y="1601788"/>
            <a:ext cx="2408238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623890" y="1601788"/>
            <a:ext cx="2408237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ounded Rectangle 7"/>
          <p:cNvSpPr/>
          <p:nvPr userDrawn="1"/>
        </p:nvSpPr>
        <p:spPr bwMode="auto">
          <a:xfrm>
            <a:off x="3144842" y="1601788"/>
            <a:ext cx="2409825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7849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3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46113" y="1609727"/>
            <a:ext cx="2341562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1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15754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2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s slide – opt 1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85216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3248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81280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44598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or Flow Chart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 bwMode="auto">
          <a:xfrm>
            <a:off x="1989138" y="3405188"/>
            <a:ext cx="0" cy="7604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 userDrawn="1"/>
        </p:nvCxnSpPr>
        <p:spPr bwMode="auto">
          <a:xfrm>
            <a:off x="7131050" y="3389313"/>
            <a:ext cx="6350" cy="5984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 userDrawn="1"/>
        </p:nvCxnSpPr>
        <p:spPr bwMode="auto">
          <a:xfrm>
            <a:off x="4572000" y="1958977"/>
            <a:ext cx="0" cy="149542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ounded Rectangle 11"/>
          <p:cNvSpPr/>
          <p:nvPr userDrawn="1"/>
        </p:nvSpPr>
        <p:spPr bwMode="auto">
          <a:xfrm>
            <a:off x="779464" y="3746500"/>
            <a:ext cx="2403475" cy="13668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Rounded Rectangle 35"/>
          <p:cNvSpPr>
            <a:spLocks noChangeArrowheads="1"/>
          </p:cNvSpPr>
          <p:nvPr userDrawn="1"/>
        </p:nvSpPr>
        <p:spPr bwMode="auto">
          <a:xfrm>
            <a:off x="5935667" y="3746500"/>
            <a:ext cx="2403475" cy="136683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ounded Rectangle 18"/>
          <p:cNvSpPr>
            <a:spLocks noChangeArrowheads="1"/>
          </p:cNvSpPr>
          <p:nvPr userDrawn="1"/>
        </p:nvSpPr>
        <p:spPr bwMode="auto">
          <a:xfrm>
            <a:off x="3370266" y="2062165"/>
            <a:ext cx="2403475" cy="123983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779464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5935667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29"/>
          <p:cNvSpPr>
            <a:spLocks noChangeArrowheads="1"/>
          </p:cNvSpPr>
          <p:nvPr userDrawn="1"/>
        </p:nvSpPr>
        <p:spPr bwMode="auto">
          <a:xfrm>
            <a:off x="3360738" y="1476376"/>
            <a:ext cx="2405062" cy="496888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>
            <a:off x="3182942" y="3455988"/>
            <a:ext cx="27527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717657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 slides – opt 2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464560" y="146081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3441700" y="21383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88392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86106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04520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02234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05833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table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8" hasCustomPrompt="1"/>
          </p:nvPr>
        </p:nvSpPr>
        <p:spPr>
          <a:xfrm>
            <a:off x="2514600" y="1841500"/>
            <a:ext cx="5715000" cy="321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2305380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able Placeholder 7"/>
          <p:cNvSpPr>
            <a:spLocks noGrp="1"/>
          </p:cNvSpPr>
          <p:nvPr>
            <p:ph type="tbl" sz="quarter" idx="17" hasCustomPrompt="1"/>
          </p:nvPr>
        </p:nvSpPr>
        <p:spPr>
          <a:xfrm>
            <a:off x="2980144" y="1440498"/>
            <a:ext cx="5320579" cy="3446462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noProof="0" dirty="0"/>
              <a:t>Tab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3189636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table slide – Opt 2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651953"/>
            <a:ext cx="177038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14150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12383421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711597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y Ep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Why Epson?</a:t>
            </a:r>
          </a:p>
        </p:txBody>
      </p:sp>
    </p:spTree>
    <p:extLst>
      <p:ext uri="{BB962C8B-B14F-4D97-AF65-F5344CB8AC3E}">
        <p14:creationId xmlns:p14="http://schemas.microsoft.com/office/powerpoint/2010/main" val="1030636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110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50185" y="2069773"/>
            <a:ext cx="4114800" cy="135175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13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40016" y="1014232"/>
            <a:ext cx="7460984" cy="952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Main Chapter slide – opt 2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34000" y="2772834"/>
            <a:ext cx="3048000" cy="194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1022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Takeaw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7620"/>
            <a:ext cx="8229600" cy="7934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57200" y="1333500"/>
            <a:ext cx="8229600" cy="3048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ounded Rectangle 8"/>
          <p:cNvSpPr/>
          <p:nvPr userDrawn="1"/>
        </p:nvSpPr>
        <p:spPr bwMode="auto">
          <a:xfrm>
            <a:off x="557212" y="4533900"/>
            <a:ext cx="8129587" cy="685800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990600" y="4610100"/>
            <a:ext cx="7239000" cy="533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57862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32680425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- Insert your own i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474368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asic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04119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838200" y="1562100"/>
            <a:ext cx="7086600" cy="34115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55676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3530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pso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 descr="epson_logo_ev_tag_ko.eps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267230"/>
            <a:ext cx="1079500" cy="30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9102"/>
            <a:ext cx="6781800" cy="508000"/>
          </a:xfrm>
        </p:spPr>
        <p:txBody>
          <a:bodyPr/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457200" y="1125877"/>
            <a:ext cx="7086600" cy="3429000"/>
          </a:xfrm>
        </p:spPr>
        <p:txBody>
          <a:bodyPr/>
          <a:lstStyle>
            <a:lvl1pPr>
              <a:defRPr sz="3000">
                <a:latin typeface="Arial" pitchFamily="34" charset="0"/>
                <a:cs typeface="Arial" pitchFamily="34" charset="0"/>
              </a:defRPr>
            </a:lvl1pPr>
            <a:lvl2pPr>
              <a:defRPr sz="26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buFont typeface="Courier New" pitchFamily="49" charset="0"/>
              <a:buChar char="o"/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E8E7A64-6B2F-484F-890A-8E160D6678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6772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9668A4A-A735-4B48-A8E7-E1F4F9ED54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0677D22-FD7D-B347-AAEB-31DAAC45CF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736" y="788682"/>
            <a:ext cx="944639" cy="3394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E7B297-C028-954D-AF5A-E867908AE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8842" y="736187"/>
            <a:ext cx="5135027" cy="928318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31D123-9632-B441-9AD4-8F70283FD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8842" y="1752203"/>
            <a:ext cx="5135026" cy="1250156"/>
          </a:xfrm>
        </p:spPr>
        <p:txBody>
          <a:bodyPr>
            <a:noAutofit/>
          </a:bodyPr>
          <a:lstStyle>
            <a:lvl1pPr marL="0" indent="0">
              <a:buNone/>
              <a:defRPr sz="21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72FE5B-2865-A94E-B00B-F30B8F4AA484}"/>
              </a:ext>
            </a:extLst>
          </p:cNvPr>
          <p:cNvCxnSpPr>
            <a:cxnSpLocks/>
          </p:cNvCxnSpPr>
          <p:nvPr userDrawn="1"/>
        </p:nvCxnSpPr>
        <p:spPr>
          <a:xfrm>
            <a:off x="3011138" y="1128156"/>
            <a:ext cx="0" cy="928318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713F080-65CD-C742-B107-2A6252540645}"/>
              </a:ext>
            </a:extLst>
          </p:cNvPr>
          <p:cNvCxnSpPr>
            <a:cxnSpLocks/>
          </p:cNvCxnSpPr>
          <p:nvPr userDrawn="1"/>
        </p:nvCxnSpPr>
        <p:spPr>
          <a:xfrm>
            <a:off x="8486300" y="307775"/>
            <a:ext cx="0" cy="12954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42109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A3EF43D-DB15-F64D-B915-AA6B53D59F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E7B297-C028-954D-AF5A-E867908AE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4082" y="736187"/>
            <a:ext cx="5135027" cy="928318"/>
          </a:xfrm>
        </p:spPr>
        <p:txBody>
          <a:bodyPr anchor="t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31D123-9632-B441-9AD4-8F70283FD99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364083" y="2345267"/>
            <a:ext cx="5135026" cy="665558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rgbClr val="CAD7DC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epson.com</a:t>
            </a:r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72FE5B-2865-A94E-B00B-F30B8F4AA484}"/>
              </a:ext>
            </a:extLst>
          </p:cNvPr>
          <p:cNvCxnSpPr>
            <a:cxnSpLocks/>
          </p:cNvCxnSpPr>
          <p:nvPr userDrawn="1"/>
        </p:nvCxnSpPr>
        <p:spPr>
          <a:xfrm>
            <a:off x="3011138" y="788888"/>
            <a:ext cx="0" cy="1784979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F9123646-D037-3249-AAEC-EC6BCC563B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736" y="788682"/>
            <a:ext cx="944639" cy="339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13688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316D8BB-6065-DA41-9A76-03A0BCB7E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71500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EC7131-C669-8F44-88D3-55CD45EC74E3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6BCCB99-6CC0-4E44-8CB1-FF744DD968D0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872441-2DFE-8947-A237-61EB928C0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05740"/>
            <a:ext cx="7886700" cy="1104636"/>
          </a:xfrm>
        </p:spPr>
        <p:txBody>
          <a:bodyPr>
            <a:no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B8873-8600-F948-9BA2-3DD5B270BB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2446" y="1059180"/>
            <a:ext cx="6583680" cy="716280"/>
          </a:xfr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6B916E-7831-9A49-9A77-850157929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1AE73ED-9813-2041-843D-3548464E54E7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A8DC14-D014-1B45-A8A2-18BFDAC4A07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B5D6659-8E69-4341-9623-0683F61C77F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2569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7452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944881" y="2891740"/>
            <a:ext cx="3454399" cy="14770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000501" y="994833"/>
            <a:ext cx="5057774" cy="661247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ub Chapter divider slide – opt 1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717098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06272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BBF14F-5150-8345-803E-0BB605D2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002280"/>
            <a:ext cx="9144000" cy="471272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C4D78DC-CE1F-3846-87BC-C1E37BBF6D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9143999" cy="111826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EC7131-C669-8F44-88D3-55CD45EC74E3}"/>
              </a:ext>
            </a:extLst>
          </p:cNvPr>
          <p:cNvCxnSpPr>
            <a:cxnSpLocks/>
          </p:cNvCxnSpPr>
          <p:nvPr userDrawn="1"/>
        </p:nvCxnSpPr>
        <p:spPr>
          <a:xfrm>
            <a:off x="432055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98A79825-CB82-974C-B88F-7A2338822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580"/>
            <a:ext cx="7886700" cy="1104636"/>
          </a:xfrm>
        </p:spPr>
        <p:txBody>
          <a:bodyPr>
            <a:noAutofit/>
          </a:bodyPr>
          <a:lstStyle>
            <a:lvl1pPr algn="ctr">
              <a:defRPr sz="375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D10765-8BE7-874C-A2CA-0E0D720C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494" y="1805940"/>
            <a:ext cx="6583680" cy="207798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D2A9BD9-70FB-714C-ABF3-21BE9453AED8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8DB1835-DC56-F144-92C7-5CC0293F8EDF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0B3C165-2CCD-7846-A92D-C6168B818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CCC6E4-79EB-F445-A438-512EEBAE089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334407D-8487-DA4D-9A3E-3B81A0F6FDD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0840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89BBF14F-5150-8345-803E-0BB605D2AA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94262"/>
            <a:ext cx="9144000" cy="472073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2EE1B5AD-4063-4446-87DC-2CE910364B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111826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98A79825-CB82-974C-B88F-7A2338822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68580"/>
            <a:ext cx="7886700" cy="1104636"/>
          </a:xfrm>
        </p:spPr>
        <p:txBody>
          <a:bodyPr>
            <a:noAutofit/>
          </a:bodyPr>
          <a:lstStyle>
            <a:lvl1pPr algn="ctr">
              <a:defRPr sz="375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D10765-8BE7-874C-A2CA-0E0D720C1A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6494" y="1630680"/>
            <a:ext cx="6583680" cy="2077983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EA07BE6-354B-574C-888F-7360B4343A5F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7101A69-5E75-7C4A-8A57-531747A48F9B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59FA7B-31C6-BA4D-AAAB-EBD0432D2BFF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4CE4266A-5EBF-524E-927F-9AAFD2D61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9A6A9D-F651-F348-8CB1-A010413147B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3B53A7D-7B13-EF44-B5A4-1441400F19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8040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EC7131-C669-8F44-88D3-55CD45EC74E3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6BCCB99-6CC0-4E44-8CB1-FF744DD968D0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A7A9A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872441-2DFE-8947-A237-61EB928C0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05740"/>
            <a:ext cx="7886700" cy="1104636"/>
          </a:xfrm>
        </p:spPr>
        <p:txBody>
          <a:bodyPr>
            <a:noAutofit/>
          </a:bodyPr>
          <a:lstStyle>
            <a:lvl1pPr algn="ctr">
              <a:defRPr sz="2400" b="1">
                <a:solidFill>
                  <a:srgbClr val="34343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B8873-8600-F948-9BA2-3DD5B270BB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2446" y="1059180"/>
            <a:ext cx="6583680" cy="716280"/>
          </a:xfrm>
        </p:spPr>
        <p:txBody>
          <a:bodyPr>
            <a:noAutofit/>
          </a:bodyPr>
          <a:lstStyle>
            <a:lvl1pPr marL="0" indent="0">
              <a:buNone/>
              <a:defRPr sz="1050">
                <a:solidFill>
                  <a:srgbClr val="343433"/>
                </a:solidFill>
              </a:defRPr>
            </a:lvl1pPr>
            <a:lvl2pPr marL="342900" indent="0">
              <a:buNone/>
              <a:defRPr sz="1200">
                <a:solidFill>
                  <a:schemeClr val="bg1"/>
                </a:solidFill>
              </a:defRPr>
            </a:lvl2pPr>
            <a:lvl3pPr marL="685800" indent="0">
              <a:buNone/>
              <a:defRPr sz="1200">
                <a:solidFill>
                  <a:schemeClr val="bg1"/>
                </a:solidFill>
              </a:defRPr>
            </a:lvl3pPr>
            <a:lvl4pPr marL="1028700" indent="0">
              <a:buNone/>
              <a:defRPr sz="1200">
                <a:solidFill>
                  <a:schemeClr val="bg1"/>
                </a:solidFill>
              </a:defRPr>
            </a:lvl4pPr>
            <a:lvl5pPr marL="1371600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01AE73ED-9813-2041-843D-3548464E54E7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546B916E-7831-9A49-9A77-8501579295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FB16D0-262A-1248-918A-E887027B6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7288AA-EFDF-6F4B-AAC5-2F6DE5B873B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8639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5316D8BB-6065-DA41-9A76-03A0BCB7E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71500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3534A9D-F2DF-2048-8DDE-FA3659659570}"/>
              </a:ext>
            </a:extLst>
          </p:cNvPr>
          <p:cNvSpPr/>
          <p:nvPr userDrawn="1"/>
        </p:nvSpPr>
        <p:spPr>
          <a:xfrm>
            <a:off x="981054" y="654263"/>
            <a:ext cx="7185328" cy="3966689"/>
          </a:xfrm>
          <a:prstGeom prst="rect">
            <a:avLst/>
          </a:prstGeom>
          <a:solidFill>
            <a:srgbClr val="8082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868AADCE-6A4B-4D4E-83E4-77D1B72FBE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83301" y="654262"/>
            <a:ext cx="1783080" cy="19812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BC4AB22C-8A8D-DF48-82A5-587D455398DE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6021" y="2639752"/>
            <a:ext cx="1783080" cy="19812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417E298D-8EBC-1A4F-8588-F69919FF46E6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81053" y="2639752"/>
            <a:ext cx="1783080" cy="19812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889E4314-E40E-7D47-A278-BD0C2F554213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2788334" y="654262"/>
            <a:ext cx="1783080" cy="19812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B3513B-FC48-874F-B740-F0D958C10A14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6CC3E1D0-5258-F741-9D58-2B0815E2CAC7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1B75B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39A8AB7-9D13-4C40-B025-16E3025A4DD1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493FB051-0113-8E4A-94AF-46C8C79CFC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3DECE22-9EB3-874C-B8AB-55EE1A7280F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8787337-3E74-A941-BC8B-08EC3C9EEA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3342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ap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5316D8BB-6065-DA41-9A76-03A0BCB7EC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11DB6EE-7EEA-A040-BF43-EDBBDE304F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763" y="5233015"/>
            <a:ext cx="1955237" cy="481986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6ED5F7F-5D67-7A4B-B791-F52CB80D044A}"/>
              </a:ext>
            </a:extLst>
          </p:cNvPr>
          <p:cNvCxnSpPr>
            <a:cxnSpLocks/>
          </p:cNvCxnSpPr>
          <p:nvPr userDrawn="1"/>
        </p:nvCxnSpPr>
        <p:spPr>
          <a:xfrm>
            <a:off x="434752" y="5230199"/>
            <a:ext cx="5943251" cy="0"/>
          </a:xfrm>
          <a:prstGeom prst="line">
            <a:avLst/>
          </a:prstGeom>
          <a:ln w="3175">
            <a:gradFill flip="none" rotWithShape="1">
              <a:gsLst>
                <a:gs pos="9000">
                  <a:srgbClr val="1B75BC">
                    <a:alpha val="0"/>
                  </a:srgbClr>
                </a:gs>
                <a:gs pos="100000">
                  <a:srgbClr val="1B75BC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8BDC9CAA-9CB3-E048-9CF3-3D419D92D005}"/>
              </a:ext>
            </a:extLst>
          </p:cNvPr>
          <p:cNvSpPr txBox="1"/>
          <p:nvPr userDrawn="1"/>
        </p:nvSpPr>
        <p:spPr>
          <a:xfrm>
            <a:off x="924550" y="5369488"/>
            <a:ext cx="2143593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spc="0">
                <a:solidFill>
                  <a:srgbClr val="A7A9A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SON CONFIDENTIAL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39EE2DFA-2D27-A549-989B-BC80551E94E4}"/>
              </a:ext>
            </a:extLst>
          </p:cNvPr>
          <p:cNvSpPr>
            <a:spLocks noChangeAspect="1"/>
          </p:cNvSpPr>
          <p:nvPr userDrawn="1"/>
        </p:nvSpPr>
        <p:spPr>
          <a:xfrm>
            <a:off x="431498" y="5356861"/>
            <a:ext cx="219456" cy="2438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900">
              <a:solidFill>
                <a:srgbClr val="1B75BC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A5C07E4-B53F-0346-BBBE-D767AE292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94762" y="5326646"/>
            <a:ext cx="292928" cy="304271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04A371-8172-9E4D-9CB1-7E0E64E6AC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6400" y="5378737"/>
            <a:ext cx="587175" cy="21045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2FB16D0-262A-1248-918A-E887027B66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0787" y="5327527"/>
            <a:ext cx="371475" cy="27516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7288AA-EFDF-6F4B-AAC5-2F6DE5B873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30512" y="5327527"/>
            <a:ext cx="371475" cy="27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661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3967C-2770-4B56-8E9C-9D28F11F1A18}" type="datetimeFigureOut">
              <a:rPr kumimoji="1" lang="ja-JP" altLang="en-US" smtClean="0"/>
              <a:t>2023/3/17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7280A-521D-4E05-B17A-EF2E006C2E0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366158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27521E-754E-4135-891A-A60C53327B54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7" name="タイトル 6">
            <a:extLst>
              <a:ext uri="{FF2B5EF4-FFF2-40B4-BE49-F238E27FC236}">
                <a16:creationId xmlns:a16="http://schemas.microsoft.com/office/drawing/2014/main" id="{CE448159-6A91-41CA-B258-6D67370A5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408115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570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und Same Side Corner Rectangle 3"/>
          <p:cNvSpPr/>
          <p:nvPr userDrawn="1"/>
        </p:nvSpPr>
        <p:spPr bwMode="auto">
          <a:xfrm rot="5400000">
            <a:off x="1399382" y="-589755"/>
            <a:ext cx="4068763" cy="686752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08457" y="993093"/>
            <a:ext cx="5773655" cy="2266943"/>
          </a:xfrm>
          <a:prstGeom prst="rect">
            <a:avLst/>
          </a:prstGeom>
        </p:spPr>
        <p:txBody>
          <a:bodyPr vert="horz"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4000" b="0" i="0" kern="1200" cap="all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aster Presentation title</a:t>
            </a:r>
            <a:br>
              <a:rPr lang="en-US" dirty="0"/>
            </a:br>
            <a:r>
              <a:rPr lang="en-US" dirty="0"/>
              <a:t>slide – opt 1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44699" y="3634894"/>
            <a:ext cx="4005262" cy="769937"/>
          </a:xfrm>
          <a:prstGeom prst="rect">
            <a:avLst/>
          </a:prstGeom>
        </p:spPr>
        <p:txBody>
          <a:bodyPr vert="horz"/>
          <a:lstStyle>
            <a:lvl1pPr marL="0" indent="0">
              <a:spcBef>
                <a:spcPts val="660"/>
              </a:spcBef>
              <a:buFontTx/>
              <a:buNone/>
              <a:defRPr sz="1100" kern="1200" cap="all" baseline="0">
                <a:solidFill>
                  <a:schemeClr val="tx2"/>
                </a:solidFill>
                <a:latin typeface="+mn-lt"/>
                <a:cs typeface="A Truer Blue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5867400" y="2518833"/>
            <a:ext cx="2667000" cy="2286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0882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 Master Title Slide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477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28003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13684" y="1164167"/>
            <a:ext cx="5963316" cy="49191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ster presentation title slide – opt 2</a:t>
            </a: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4917444" y="2603500"/>
            <a:ext cx="3454399" cy="17856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014390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732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ound Same Side Corner Rectangle 8"/>
          <p:cNvSpPr/>
          <p:nvPr userDrawn="1"/>
        </p:nvSpPr>
        <p:spPr bwMode="auto">
          <a:xfrm>
            <a:off x="3354741" y="1585915"/>
            <a:ext cx="2398713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Round Same Side Corner Rectangle 9"/>
          <p:cNvSpPr/>
          <p:nvPr userDrawn="1"/>
        </p:nvSpPr>
        <p:spPr bwMode="auto">
          <a:xfrm>
            <a:off x="5932837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Round Same Side Corner Rectangle 10"/>
          <p:cNvSpPr/>
          <p:nvPr userDrawn="1"/>
        </p:nvSpPr>
        <p:spPr bwMode="auto">
          <a:xfrm>
            <a:off x="775050" y="1585915"/>
            <a:ext cx="2400300" cy="3663950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59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sz="1800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347157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86299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600" b="1" kern="1200" cap="all">
                <a:solidFill>
                  <a:schemeClr val="accent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344363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3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24"/>
          </p:nvPr>
        </p:nvSpPr>
        <p:spPr>
          <a:xfrm>
            <a:off x="6014117" y="1653859"/>
            <a:ext cx="2194560" cy="489902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 cap="all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accent1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762000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Main agenda slide – opt 1</a:t>
            </a:r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89093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6042057" y="2157413"/>
            <a:ext cx="1770380" cy="2300287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 eaLnBrk="1" hangingPunct="1">
              <a:lnSpc>
                <a:spcPct val="12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400" b="1" kern="1200">
                <a:solidFill>
                  <a:schemeClr val="bg1"/>
                </a:solidFill>
              </a:defRPr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400" b="1" kern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88103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720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299079" y="1039815"/>
            <a:ext cx="4068763" cy="362108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1"/>
            <a:ext cx="4978753" cy="489902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Sub Chapter divider slide – opt 2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47688" y="1527175"/>
            <a:ext cx="3937000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2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22975" y="1079501"/>
            <a:ext cx="2503488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75192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Agenda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361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759" y="643153"/>
            <a:ext cx="8229600" cy="952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600" baseline="0"/>
            </a:lvl1pPr>
          </a:lstStyle>
          <a:p>
            <a:r>
              <a:rPr lang="en-US" dirty="0"/>
              <a:t>Main Agenda Slide – Opt 2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24784" y="1641896"/>
            <a:ext cx="3971017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572000" y="1650172"/>
            <a:ext cx="4191000" cy="356952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38672226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51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062344" y="2264834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 baseline="0"/>
            </a:lvl1pPr>
          </a:lstStyle>
          <a:p>
            <a:r>
              <a:rPr lang="en-US" dirty="0"/>
              <a:t>Main chapter slide – Opt 1</a:t>
            </a:r>
          </a:p>
        </p:txBody>
      </p:sp>
    </p:spTree>
    <p:extLst>
      <p:ext uri="{BB962C8B-B14F-4D97-AF65-F5344CB8AC3E}">
        <p14:creationId xmlns:p14="http://schemas.microsoft.com/office/powerpoint/2010/main" val="384428034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Chapt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5555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50185" y="2069773"/>
            <a:ext cx="4114800" cy="135175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13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40016" y="1014232"/>
            <a:ext cx="7460984" cy="952500"/>
          </a:xfrm>
          <a:prstGeom prst="rect">
            <a:avLst/>
          </a:prstGeom>
        </p:spPr>
        <p:txBody>
          <a:bodyPr vert="horz"/>
          <a:lstStyle>
            <a:lvl1pPr algn="l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Main Chapter slide – opt 2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334000" y="2772834"/>
            <a:ext cx="3048000" cy="194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1027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011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5400000">
            <a:off x="-34131" y="850107"/>
            <a:ext cx="4068763" cy="4000500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944881" y="2891740"/>
            <a:ext cx="3454399" cy="14770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000501" y="994833"/>
            <a:ext cx="5057774" cy="661247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ub Chapter divider slide – opt 1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4717098" y="1692595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1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623647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Chapter Divider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0389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299079" y="1039815"/>
            <a:ext cx="4068763" cy="3621087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1"/>
            <a:ext cx="4978753" cy="489902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Sub Chapter divider slide – opt 2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47688" y="1527175"/>
            <a:ext cx="3937000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20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22975" y="1079501"/>
            <a:ext cx="2503488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5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6638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6986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2430463" y="1100138"/>
            <a:ext cx="6184900" cy="3800476"/>
          </a:xfrm>
          <a:prstGeom prst="rect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8"/>
          </p:nvPr>
        </p:nvSpPr>
        <p:spPr>
          <a:xfrm>
            <a:off x="2499043" y="1168400"/>
            <a:ext cx="6035357" cy="36677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2097437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Video Slid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357313"/>
            <a:ext cx="181102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83139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 Line Up and Feature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840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 Same Side Corner Rectangle 11"/>
          <p:cNvSpPr/>
          <p:nvPr userDrawn="1"/>
        </p:nvSpPr>
        <p:spPr bwMode="auto">
          <a:xfrm>
            <a:off x="2428879" y="3500438"/>
            <a:ext cx="1389063" cy="17383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3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ound Same Side Corner Rectangle 13"/>
          <p:cNvSpPr/>
          <p:nvPr userDrawn="1"/>
        </p:nvSpPr>
        <p:spPr bwMode="auto">
          <a:xfrm>
            <a:off x="6856413" y="1719263"/>
            <a:ext cx="1389062" cy="3519487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5" name="Round Same Side Corner Rectangle 14"/>
          <p:cNvSpPr/>
          <p:nvPr userDrawn="1"/>
        </p:nvSpPr>
        <p:spPr bwMode="auto">
          <a:xfrm>
            <a:off x="5380038" y="2319338"/>
            <a:ext cx="1390650" cy="29194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 Same Side Corner Rectangle 15"/>
          <p:cNvSpPr/>
          <p:nvPr userDrawn="1"/>
        </p:nvSpPr>
        <p:spPr bwMode="auto">
          <a:xfrm>
            <a:off x="3903663" y="2916238"/>
            <a:ext cx="1390650" cy="2322512"/>
          </a:xfrm>
          <a:prstGeom prst="round2Same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</a:schemeClr>
              </a:gs>
              <a:gs pos="75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chemeClr val="bg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2457192" y="37526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4 Product line up and features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2450643" y="3211870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7"/>
          </p:nvPr>
        </p:nvSpPr>
        <p:spPr>
          <a:xfrm>
            <a:off x="3914006" y="2621353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18"/>
          </p:nvPr>
        </p:nvSpPr>
        <p:spPr>
          <a:xfrm>
            <a:off x="5385579" y="2030838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6865407" y="1440321"/>
            <a:ext cx="1367555" cy="532376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6889492" y="19810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3936742" y="316211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5409942" y="2571561"/>
            <a:ext cx="1429982" cy="148793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100" b="1" kern="1200" baseline="0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900" b="1" kern="1200">
                <a:solidFill>
                  <a:schemeClr val="bg1"/>
                </a:solidFill>
              </a:defRPr>
            </a:lvl2pPr>
            <a:lvl3pPr marL="0" marR="0" indent="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700" b="1" kern="1200" baseline="0">
                <a:solidFill>
                  <a:schemeClr val="bg1"/>
                </a:solidFill>
              </a:defRPr>
            </a:lvl3pPr>
            <a:lvl4pPr marL="91440" marR="0" indent="-91440" algn="l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700" b="1">
                <a:solidFill>
                  <a:schemeClr val="bg1"/>
                </a:solidFill>
              </a:defRPr>
            </a:lvl4pPr>
            <a:lvl5pPr marL="0" indent="0">
              <a:lnSpc>
                <a:spcPct val="11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None/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endParaRPr lang="en-US" dirty="0"/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41026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6812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Picture Placeholder 16"/>
          <p:cNvSpPr>
            <a:spLocks noGrp="1"/>
          </p:cNvSpPr>
          <p:nvPr>
            <p:ph type="pic" sz="quarter" idx="42"/>
          </p:nvPr>
        </p:nvSpPr>
        <p:spPr>
          <a:xfrm>
            <a:off x="188976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03136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3 Product line up and features slide – opt 3</a:t>
            </a:r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406400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3" name="Picture Placeholder 16"/>
          <p:cNvSpPr>
            <a:spLocks noGrp="1"/>
          </p:cNvSpPr>
          <p:nvPr>
            <p:ph type="pic" sz="quarter" idx="43"/>
          </p:nvPr>
        </p:nvSpPr>
        <p:spPr>
          <a:xfrm>
            <a:off x="6238240" y="1879600"/>
            <a:ext cx="1930400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4"/>
          </p:nvPr>
        </p:nvSpPr>
        <p:spPr>
          <a:xfrm>
            <a:off x="420560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5"/>
          </p:nvPr>
        </p:nvSpPr>
        <p:spPr>
          <a:xfrm>
            <a:off x="6379845" y="3252788"/>
            <a:ext cx="1647190" cy="1301750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800" i="0" kern="1200" cap="all">
                <a:solidFill>
                  <a:schemeClr val="accent1">
                    <a:lumMod val="75000"/>
                  </a:schemeClr>
                </a:solidFill>
              </a:defRPr>
            </a:lvl1pPr>
            <a:lvl2pPr marL="0" marR="0" indent="0" algn="ctr" defTabSz="914400" rtl="0" eaLnBrk="0" fontAlgn="base" latinLnBrk="0" hangingPunct="0">
              <a:lnSpc>
                <a:spcPct val="13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50" i="0"/>
            </a:lvl2pPr>
            <a:lvl3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600" cap="none" baseline="0"/>
            </a:lvl3pPr>
            <a:lvl4pPr marL="0" indent="0" algn="ctr">
              <a:lnSpc>
                <a:spcPct val="130000"/>
              </a:lnSpc>
              <a:spcBef>
                <a:spcPts val="0"/>
              </a:spcBef>
              <a:buFontTx/>
              <a:buNone/>
              <a:defRPr sz="1050" i="0" cap="all">
                <a:solidFill>
                  <a:schemeClr val="accent1">
                    <a:lumMod val="75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468644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Line Up and Features Op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 Placeholder 7"/>
          <p:cNvSpPr>
            <a:spLocks noGrp="1"/>
          </p:cNvSpPr>
          <p:nvPr>
            <p:ph type="body" sz="quarter" idx="29"/>
          </p:nvPr>
        </p:nvSpPr>
        <p:spPr>
          <a:xfrm>
            <a:off x="11061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6" name="Picture Placeholder 16"/>
          <p:cNvSpPr>
            <a:spLocks noGrp="1"/>
          </p:cNvSpPr>
          <p:nvPr>
            <p:ph type="pic" sz="quarter" idx="38"/>
          </p:nvPr>
        </p:nvSpPr>
        <p:spPr>
          <a:xfrm>
            <a:off x="510032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8" name="Picture Placeholder 16"/>
          <p:cNvSpPr>
            <a:spLocks noGrp="1"/>
          </p:cNvSpPr>
          <p:nvPr>
            <p:ph type="pic" sz="quarter" idx="40"/>
          </p:nvPr>
        </p:nvSpPr>
        <p:spPr>
          <a:xfrm>
            <a:off x="2540004" y="1645920"/>
            <a:ext cx="1422399" cy="103632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5" name="Picture Placeholder 16"/>
          <p:cNvSpPr>
            <a:spLocks noGrp="1"/>
          </p:cNvSpPr>
          <p:nvPr>
            <p:ph type="pic" sz="quarter" idx="37"/>
          </p:nvPr>
        </p:nvSpPr>
        <p:spPr>
          <a:xfrm>
            <a:off x="638048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26745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97713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5 Product line up and features slide – opt 4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2416810" y="264939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  <p:sp>
        <p:nvSpPr>
          <p:cNvPr id="43" name="Picture Placeholder 16"/>
          <p:cNvSpPr>
            <a:spLocks noGrp="1"/>
          </p:cNvSpPr>
          <p:nvPr>
            <p:ph type="pic" sz="quarter" idx="35"/>
          </p:nvPr>
        </p:nvSpPr>
        <p:spPr>
          <a:xfrm>
            <a:off x="379984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7" name="Picture Placeholder 16"/>
          <p:cNvSpPr>
            <a:spLocks noGrp="1"/>
          </p:cNvSpPr>
          <p:nvPr>
            <p:ph type="pic" sz="quarter" idx="39"/>
          </p:nvPr>
        </p:nvSpPr>
        <p:spPr>
          <a:xfrm>
            <a:off x="1219204" y="3007360"/>
            <a:ext cx="1422399" cy="12192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41"/>
          </p:nvPr>
        </p:nvSpPr>
        <p:spPr>
          <a:xfrm>
            <a:off x="3696970" y="4193713"/>
            <a:ext cx="1647190" cy="307167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 kern="1200">
                <a:solidFill>
                  <a:schemeClr val="accent6">
                    <a:lumMod val="50000"/>
                  </a:schemeClr>
                </a:solidFill>
              </a:defRPr>
            </a:lvl1pPr>
            <a:lvl2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1300" i="0">
                <a:solidFill>
                  <a:schemeClr val="accent6">
                    <a:lumMod val="50000"/>
                  </a:schemeClr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300"/>
            </a:lvl3pPr>
            <a:lvl4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4pPr>
            <a:lvl5pPr marL="0" indent="0" algn="ctr">
              <a:lnSpc>
                <a:spcPct val="110000"/>
              </a:lnSpc>
              <a:spcBef>
                <a:spcPts val="0"/>
              </a:spcBef>
              <a:buFontTx/>
              <a:buNone/>
              <a:defRPr sz="800" i="1">
                <a:solidFill>
                  <a:schemeClr val="accent6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3"/>
            <a:endParaRPr lang="en-US" dirty="0"/>
          </a:p>
          <a:p>
            <a:pPr lvl="4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0438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Slide with Bullets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851844"/>
              </p:ext>
            </p:ext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16483"/>
            <a:ext cx="8229600" cy="952500"/>
          </a:xfrm>
        </p:spPr>
        <p:txBody>
          <a:bodyPr>
            <a:normAutofit/>
          </a:bodyPr>
          <a:lstStyle>
            <a:lvl1pPr>
              <a:defRPr sz="3200" baseline="0"/>
            </a:lvl1pPr>
          </a:lstStyle>
          <a:p>
            <a:r>
              <a:rPr lang="en-US" dirty="0"/>
              <a:t>Chart/Graphics/Text Slide – Opt 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8064"/>
            <a:ext cx="4038600" cy="3771636"/>
          </a:xfrm>
        </p:spPr>
        <p:txBody>
          <a:bodyPr/>
          <a:lstStyle>
            <a:lvl1pPr>
              <a:defRPr sz="2000">
                <a:latin typeface="Arial" pitchFamily="34" charset="0"/>
                <a:cs typeface="Arial" pitchFamily="34" charset="0"/>
              </a:defRPr>
            </a:lvl1pPr>
            <a:lvl2pPr>
              <a:defRPr sz="1800">
                <a:latin typeface="Arial" pitchFamily="34" charset="0"/>
                <a:cs typeface="Arial" pitchFamily="34" charset="0"/>
              </a:defRPr>
            </a:lvl2pPr>
            <a:lvl3pPr>
              <a:defRPr sz="1600">
                <a:latin typeface="Arial" pitchFamily="34" charset="0"/>
                <a:cs typeface="Arial" pitchFamily="34" charset="0"/>
              </a:defRPr>
            </a:lvl3pPr>
            <a:lvl4pPr>
              <a:defRPr sz="1400">
                <a:latin typeface="Arial" pitchFamily="34" charset="0"/>
                <a:cs typeface="Arial" pitchFamily="34" charset="0"/>
              </a:defRPr>
            </a:lvl4pPr>
            <a:lvl5pPr>
              <a:defRPr sz="12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5338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08391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2430463" y="1100138"/>
            <a:ext cx="6184900" cy="3800476"/>
          </a:xfrm>
          <a:prstGeom prst="rect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8"/>
          </p:nvPr>
        </p:nvSpPr>
        <p:spPr>
          <a:xfrm>
            <a:off x="2499043" y="1168400"/>
            <a:ext cx="6035357" cy="366776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2097437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Video Slid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357313"/>
            <a:ext cx="181102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8197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Bullets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153482"/>
              </p:ext>
            </p:extLst>
          </p:nvPr>
        </p:nvGraphicFramePr>
        <p:xfrm>
          <a:off x="1589" y="1767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767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09600"/>
            <a:ext cx="8229600" cy="952500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hart/Graphic/Text Slide – Opt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279261"/>
            <a:ext cx="4041775" cy="533136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648200" y="1926960"/>
            <a:ext cx="4040188" cy="3292740"/>
          </a:xfrm>
        </p:spPr>
        <p:txBody>
          <a:bodyPr/>
          <a:lstStyle>
            <a:lvl1pPr>
              <a:defRPr sz="18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4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10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07351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/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453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Picture/Text slide – Opt 3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44663" y="3101902"/>
            <a:ext cx="3854450" cy="1533599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44663" y="2853390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44663" y="1592844"/>
            <a:ext cx="3854450" cy="1268394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Tx/>
              <a:buNone/>
              <a:defRPr sz="1200" b="0" kern="1200" baseline="0">
                <a:solidFill>
                  <a:schemeClr val="tx1"/>
                </a:solidFill>
              </a:defRPr>
            </a:lvl1pPr>
            <a:lvl2pPr marL="173736" indent="-173736">
              <a:lnSpc>
                <a:spcPct val="150000"/>
              </a:lnSpc>
              <a:spcBef>
                <a:spcPts val="0"/>
              </a:spcBef>
              <a:buClr>
                <a:schemeClr val="tx2"/>
              </a:buClr>
              <a:buFont typeface="Wingdings" charset="2"/>
              <a:buChar char="§"/>
              <a:defRPr sz="1200" kern="1200">
                <a:solidFill>
                  <a:schemeClr val="tx1"/>
                </a:solidFill>
              </a:defRPr>
            </a:lvl2pPr>
            <a:lvl3pPr marL="173736" marR="0" indent="0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 sz="1000" kern="1200"/>
            </a:lvl3pPr>
            <a:lvl4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4pPr>
            <a:lvl5pPr marL="345186" indent="-171450">
              <a:lnSpc>
                <a:spcPct val="150000"/>
              </a:lnSpc>
              <a:spcBef>
                <a:spcPts val="0"/>
              </a:spcBef>
              <a:buFont typeface="Arial"/>
              <a:buChar char="•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53000" y="1756834"/>
            <a:ext cx="26670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553200" y="3280834"/>
            <a:ext cx="2133600" cy="1693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40759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, Big Idea, Take Awa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3624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 Same Side Corner Rectangle 4"/>
          <p:cNvSpPr/>
          <p:nvPr userDrawn="1"/>
        </p:nvSpPr>
        <p:spPr bwMode="auto">
          <a:xfrm rot="16200000">
            <a:off x="5749135" y="1489871"/>
            <a:ext cx="4068763" cy="2720975"/>
          </a:xfrm>
          <a:prstGeom prst="round2Same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  <a:alpha val="40000"/>
                </a:schemeClr>
              </a:gs>
              <a:gs pos="100000">
                <a:schemeClr val="bg1">
                  <a:lumMod val="75000"/>
                  <a:alpha val="66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653217" y="1278453"/>
            <a:ext cx="1914525" cy="360521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1pPr>
            <a:lvl2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2pPr>
            <a:lvl3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3pPr>
            <a:lvl4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4pPr>
            <a:lvl5pPr marL="0" indent="0">
              <a:lnSpc>
                <a:spcPct val="130000"/>
              </a:lnSpc>
              <a:buFontTx/>
              <a:buNone/>
              <a:defRPr sz="1600" b="1" i="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Body “Testimonial / Highlight Feature / Big Idea Take Away Slide”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119438" y="1337447"/>
            <a:ext cx="2703512" cy="183832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050" kern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46100" y="1330327"/>
            <a:ext cx="2300862" cy="2307666"/>
          </a:xfrm>
          <a:prstGeom prst="rect">
            <a:avLst/>
          </a:prstGeom>
        </p:spPr>
        <p:txBody>
          <a:bodyPr vert="horz"/>
          <a:lstStyle>
            <a:lvl1pPr marL="173736" marR="0" indent="-173736" algn="l" defTabSz="914400" rtl="0" eaLnBrk="1" fontAlgn="base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="1" kern="1200"/>
            </a:lvl1pPr>
            <a:lvl2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17373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63606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 or Plan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5530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4541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8273" y="1007526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s / plan slide – opt 1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048000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35512" y="1448240"/>
            <a:ext cx="2300862" cy="2307666"/>
          </a:xfrm>
          <a:prstGeom prst="rect">
            <a:avLst/>
          </a:prstGeom>
        </p:spPr>
        <p:txBody>
          <a:bodyPr vert="horz"/>
          <a:lstStyle>
            <a:lvl1pPr marL="265176" indent="-265176" eaLnBrk="1" hangingPunct="1">
              <a:lnSpc>
                <a:spcPct val="13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1300" kern="1200"/>
            </a:lvl1pPr>
            <a:lvl2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2pPr>
            <a:lvl3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3pPr>
            <a:lvl4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4pPr>
            <a:lvl5pPr marL="265176" indent="0">
              <a:lnSpc>
                <a:spcPct val="14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Tx/>
              <a:buNone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094171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al, Plan, Analytical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1662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ounded Rectangle 27"/>
          <p:cNvSpPr>
            <a:spLocks noChangeArrowheads="1"/>
          </p:cNvSpPr>
          <p:nvPr userDrawn="1"/>
        </p:nvSpPr>
        <p:spPr bwMode="auto">
          <a:xfrm>
            <a:off x="4953000" y="15668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4" name="Picture 7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31"/>
          <p:cNvSpPr>
            <a:spLocks noChangeArrowheads="1"/>
          </p:cNvSpPr>
          <p:nvPr userDrawn="1"/>
        </p:nvSpPr>
        <p:spPr bwMode="auto">
          <a:xfrm>
            <a:off x="4953000" y="3370265"/>
            <a:ext cx="1495425" cy="1495426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6756404" y="15668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16"/>
          <p:cNvSpPr/>
          <p:nvPr userDrawn="1"/>
        </p:nvSpPr>
        <p:spPr bwMode="auto">
          <a:xfrm>
            <a:off x="6756404" y="3370265"/>
            <a:ext cx="1495425" cy="1495426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 flipH="1" flipV="1">
            <a:off x="6602417" y="1531938"/>
            <a:ext cx="1587" cy="3378200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auto">
          <a:xfrm rot="5400000" flipH="1" flipV="1">
            <a:off x="6602415" y="1531940"/>
            <a:ext cx="1587" cy="3379787"/>
          </a:xfrm>
          <a:prstGeom prst="line">
            <a:avLst/>
          </a:prstGeom>
          <a:ln w="19050" cmpd="sng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goal / plan slide – opt 2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15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400" b="1">
                <a:solidFill>
                  <a:schemeClr val="bg2"/>
                </a:solidFill>
              </a:defRPr>
            </a:lvl1pPr>
            <a:lvl2pPr marL="173736" marR="0" indent="-173736" algn="l" defTabSz="914400" rtl="0" eaLnBrk="0" fontAlgn="base" latinLnBrk="0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Char char="§"/>
              <a:tabLst/>
              <a:defRPr sz="1200" baseline="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5640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93674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75640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693674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4958080" y="3429635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5138420" y="3681731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4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4958080" y="1633539"/>
            <a:ext cx="149352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 kern="1200">
                <a:solidFill>
                  <a:schemeClr val="tx2"/>
                </a:solidFill>
              </a:defRPr>
            </a:lvl1pPr>
            <a:lvl2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2pPr>
            <a:lvl3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5138420" y="1885633"/>
            <a:ext cx="1170940" cy="136556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099967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7982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/>
          <p:nvPr userDrawn="1"/>
        </p:nvSpPr>
        <p:spPr bwMode="auto">
          <a:xfrm>
            <a:off x="5667375" y="1601788"/>
            <a:ext cx="2408238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Rounded Rectangle 6"/>
          <p:cNvSpPr/>
          <p:nvPr userDrawn="1"/>
        </p:nvSpPr>
        <p:spPr bwMode="auto">
          <a:xfrm>
            <a:off x="623890" y="1601788"/>
            <a:ext cx="2408237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ounded Rectangle 7"/>
          <p:cNvSpPr/>
          <p:nvPr userDrawn="1"/>
        </p:nvSpPr>
        <p:spPr bwMode="auto">
          <a:xfrm>
            <a:off x="3144842" y="1601788"/>
            <a:ext cx="2409825" cy="2398712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  <a:alpha val="50000"/>
                </a:schemeClr>
              </a:gs>
              <a:gs pos="100000">
                <a:schemeClr val="tx2"/>
              </a:gs>
            </a:gsLst>
            <a:lin ang="156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67849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3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46113" y="1609727"/>
            <a:ext cx="2341562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1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157542" y="1609727"/>
            <a:ext cx="2370137" cy="739754"/>
          </a:xfrm>
          <a:prstGeom prst="rect">
            <a:avLst/>
          </a:prstGeom>
          <a:noFill/>
        </p:spPr>
        <p:txBody>
          <a:bodyPr spcCol="822960">
            <a:spAutoFit/>
          </a:bodyPr>
          <a:lstStyle/>
          <a:p>
            <a:pPr algn="ctr">
              <a:lnSpc>
                <a:spcPct val="150000"/>
              </a:lnSpc>
              <a:buClr>
                <a:schemeClr val="accent2">
                  <a:lumMod val="75000"/>
                </a:schemeClr>
              </a:buClr>
              <a:tabLst>
                <a:tab pos="111125" algn="l"/>
                <a:tab pos="233363" algn="l"/>
              </a:tabLst>
              <a:defRPr/>
            </a:pPr>
            <a:r>
              <a:rPr lang="en-US" sz="3200" b="1" baseline="0" dirty="0">
                <a:solidFill>
                  <a:schemeClr val="accent6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rPr>
              <a:t>2</a:t>
            </a:r>
            <a:endParaRPr lang="en-US" sz="1800" dirty="0">
              <a:solidFill>
                <a:schemeClr val="accent6">
                  <a:lumMod val="60000"/>
                  <a:lumOff val="40000"/>
                </a:scheme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s slide – opt 1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585216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3248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812800" y="2227264"/>
            <a:ext cx="2032000" cy="1968816"/>
          </a:xfrm>
          <a:prstGeom prst="rect">
            <a:avLst/>
          </a:prstGeom>
        </p:spPr>
        <p:txBody>
          <a:bodyPr vert="horz"/>
          <a:lstStyle>
            <a:lvl1pPr marL="0" indent="0" algn="ctr">
              <a:lnSpc>
                <a:spcPct val="150000"/>
              </a:lnSpc>
              <a:spcBef>
                <a:spcPts val="0"/>
              </a:spcBef>
              <a:buFontTx/>
              <a:buNone/>
              <a:defRPr sz="1800" kern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3598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utions or Flow Chart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401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 bwMode="auto">
          <a:xfrm>
            <a:off x="1989138" y="3405188"/>
            <a:ext cx="0" cy="7604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 userDrawn="1"/>
        </p:nvCxnSpPr>
        <p:spPr bwMode="auto">
          <a:xfrm>
            <a:off x="7131050" y="3389313"/>
            <a:ext cx="6350" cy="598487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1" name="Straight Connector 10"/>
          <p:cNvCxnSpPr/>
          <p:nvPr userDrawn="1"/>
        </p:nvCxnSpPr>
        <p:spPr bwMode="auto">
          <a:xfrm>
            <a:off x="4572000" y="1958977"/>
            <a:ext cx="0" cy="149542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Rounded Rectangle 11"/>
          <p:cNvSpPr/>
          <p:nvPr userDrawn="1"/>
        </p:nvSpPr>
        <p:spPr bwMode="auto">
          <a:xfrm>
            <a:off x="779464" y="3746500"/>
            <a:ext cx="2403475" cy="1366838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Rounded Rectangle 35"/>
          <p:cNvSpPr>
            <a:spLocks noChangeArrowheads="1"/>
          </p:cNvSpPr>
          <p:nvPr userDrawn="1"/>
        </p:nvSpPr>
        <p:spPr bwMode="auto">
          <a:xfrm>
            <a:off x="5935667" y="3746500"/>
            <a:ext cx="2403475" cy="1366838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4" name="Rounded Rectangle 18"/>
          <p:cNvSpPr>
            <a:spLocks noChangeArrowheads="1"/>
          </p:cNvSpPr>
          <p:nvPr userDrawn="1"/>
        </p:nvSpPr>
        <p:spPr bwMode="auto">
          <a:xfrm>
            <a:off x="3370266" y="2062165"/>
            <a:ext cx="2403475" cy="1239837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Rounded Rectangle 14"/>
          <p:cNvSpPr/>
          <p:nvPr userDrawn="1"/>
        </p:nvSpPr>
        <p:spPr bwMode="auto">
          <a:xfrm>
            <a:off x="779464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6" name="Rounded Rectangle 15"/>
          <p:cNvSpPr/>
          <p:nvPr userDrawn="1"/>
        </p:nvSpPr>
        <p:spPr bwMode="auto">
          <a:xfrm>
            <a:off x="5935667" y="3246438"/>
            <a:ext cx="2403475" cy="4191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7" name="Rounded Rectangle 29"/>
          <p:cNvSpPr>
            <a:spLocks noChangeArrowheads="1"/>
          </p:cNvSpPr>
          <p:nvPr userDrawn="1"/>
        </p:nvSpPr>
        <p:spPr bwMode="auto">
          <a:xfrm>
            <a:off x="3360738" y="1476376"/>
            <a:ext cx="2405062" cy="496888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8" name="Straight Connector 17"/>
          <p:cNvCxnSpPr/>
          <p:nvPr userDrawn="1"/>
        </p:nvCxnSpPr>
        <p:spPr bwMode="auto">
          <a:xfrm>
            <a:off x="3182942" y="3455988"/>
            <a:ext cx="2752725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717657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Solution slides – opt 2</a:t>
            </a:r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464560" y="146081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3441700" y="21383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88392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9"/>
          <p:cNvSpPr>
            <a:spLocks noGrp="1"/>
          </p:cNvSpPr>
          <p:nvPr>
            <p:ph type="body" sz="quarter" idx="20"/>
          </p:nvPr>
        </p:nvSpPr>
        <p:spPr>
          <a:xfrm>
            <a:off x="86106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21"/>
          </p:nvPr>
        </p:nvSpPr>
        <p:spPr>
          <a:xfrm>
            <a:off x="6045200" y="3269299"/>
            <a:ext cx="2194560" cy="489902"/>
          </a:xfrm>
          <a:prstGeom prst="rect">
            <a:avLst/>
          </a:prstGeom>
        </p:spPr>
        <p:txBody>
          <a:bodyPr vert="horz"/>
          <a:lstStyle>
            <a:lvl1pPr marL="0" indent="0" algn="ctr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 cap="all">
                <a:solidFill>
                  <a:schemeClr val="bg1"/>
                </a:solidFill>
              </a:defRPr>
            </a:lvl1pPr>
            <a:lvl2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rgbClr val="FFFFFF"/>
                </a:solidFill>
              </a:defRPr>
            </a:lvl2pPr>
            <a:lvl3pPr marL="2286" indent="0" algn="ctr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0">
                <a:solidFill>
                  <a:schemeClr val="bg1"/>
                </a:solidFill>
              </a:defRPr>
            </a:lvl3pPr>
            <a:lvl4pPr marL="2286" indent="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1200" b="1">
                <a:solidFill>
                  <a:schemeClr val="tx2"/>
                </a:solidFill>
              </a:defRPr>
            </a:lvl4pPr>
            <a:lvl5pPr marL="173736" indent="-171450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022340" y="3865565"/>
            <a:ext cx="2156460" cy="1092517"/>
          </a:xfrm>
          <a:prstGeom prst="rect">
            <a:avLst/>
          </a:prstGeom>
        </p:spPr>
        <p:txBody>
          <a:bodyPr vert="horz"/>
          <a:lstStyle>
            <a:lvl1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Tx/>
              <a:buNone/>
              <a:defRPr sz="900" b="1" kern="1200"/>
            </a:lvl1pPr>
            <a:lvl2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2pPr>
            <a:lvl3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3pPr>
            <a:lvl4pPr marL="173736" indent="-17145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Char char="§"/>
              <a:defRPr sz="900"/>
            </a:lvl4pPr>
            <a:lvl5pPr marL="2286" inden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2"/>
              </a:buClr>
              <a:buFont typeface="Wingdings" charset="2"/>
              <a:buNone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705917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43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9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5"/>
          <p:cNvSpPr>
            <a:spLocks noGrp="1"/>
          </p:cNvSpPr>
          <p:nvPr>
            <p:ph type="title" hasCustomPrompt="1"/>
          </p:nvPr>
        </p:nvSpPr>
        <p:spPr>
          <a:xfrm>
            <a:off x="544163" y="1012932"/>
            <a:ext cx="7536324" cy="421423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/>
            </a:lvl1pPr>
          </a:lstStyle>
          <a:p>
            <a:r>
              <a:rPr lang="en-US" dirty="0"/>
              <a:t>table slide – Opt 1</a:t>
            </a:r>
          </a:p>
        </p:txBody>
      </p:sp>
      <p:sp>
        <p:nvSpPr>
          <p:cNvPr id="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44663" y="1359273"/>
            <a:ext cx="3825392" cy="34402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8" hasCustomPrompt="1"/>
          </p:nvPr>
        </p:nvSpPr>
        <p:spPr>
          <a:xfrm>
            <a:off x="2514600" y="1841500"/>
            <a:ext cx="5715000" cy="3217333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70166850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125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WHITE BKGD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763" y="712788"/>
            <a:ext cx="561976" cy="426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able Placeholder 7"/>
          <p:cNvSpPr>
            <a:spLocks noGrp="1"/>
          </p:cNvSpPr>
          <p:nvPr>
            <p:ph type="tbl" sz="quarter" idx="17" hasCustomPrompt="1"/>
          </p:nvPr>
        </p:nvSpPr>
        <p:spPr>
          <a:xfrm>
            <a:off x="2980144" y="1440498"/>
            <a:ext cx="5320579" cy="3446462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 noProof="0" dirty="0"/>
              <a:t>Tab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544164" y="1012931"/>
            <a:ext cx="3189636" cy="328189"/>
          </a:xfrm>
          <a:prstGeom prst="rect">
            <a:avLst/>
          </a:prstGeom>
        </p:spPr>
        <p:txBody>
          <a:bodyPr vert="horz"/>
          <a:lstStyle>
            <a:lvl1pPr algn="l" eaLnBrk="1" hangingPunct="1">
              <a:lnSpc>
                <a:spcPct val="90000"/>
              </a:lnSpc>
              <a:defRPr sz="2000" kern="1200" cap="all" baseline="0"/>
            </a:lvl1pPr>
          </a:lstStyle>
          <a:p>
            <a:r>
              <a:rPr lang="en-US" dirty="0"/>
              <a:t>table slide – Opt 2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46100" y="1651953"/>
            <a:ext cx="1770380" cy="2300287"/>
          </a:xfrm>
          <a:prstGeom prst="rect">
            <a:avLst/>
          </a:prstGeom>
        </p:spPr>
        <p:txBody>
          <a:bodyPr vert="horz"/>
          <a:lstStyle>
            <a:lvl1pPr marL="173736" indent="-173736" eaLnBrk="1" hangingPunct="1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 kern="1200"/>
            </a:lvl1pPr>
            <a:lvl2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2pPr>
            <a:lvl3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3pPr>
            <a:lvl4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4pPr>
            <a:lvl5pPr marL="173736" indent="-171450">
              <a:lnSpc>
                <a:spcPct val="140000"/>
              </a:lnSpc>
              <a:spcBef>
                <a:spcPts val="0"/>
              </a:spcBef>
              <a:spcAft>
                <a:spcPts val="100"/>
              </a:spcAft>
              <a:buClr>
                <a:schemeClr val="tx2"/>
              </a:buClr>
              <a:buFont typeface="Wingdings" charset="2"/>
              <a:buChar char="§"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37215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0592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 Same Side Corner Rectangle 2"/>
          <p:cNvSpPr/>
          <p:nvPr userDrawn="1"/>
        </p:nvSpPr>
        <p:spPr bwMode="auto">
          <a:xfrm>
            <a:off x="592139" y="1008065"/>
            <a:ext cx="7945437" cy="4286250"/>
          </a:xfrm>
          <a:prstGeom prst="round2Same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lumMod val="40000"/>
                  <a:lumOff val="60000"/>
                  <a:alpha val="60000"/>
                </a:schemeClr>
              </a:gs>
            </a:gsLst>
            <a:lin ang="162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980163" y="1520983"/>
            <a:ext cx="6998426" cy="1295399"/>
          </a:xfrm>
          <a:prstGeom prst="rect">
            <a:avLst/>
          </a:prstGeom>
        </p:spPr>
        <p:txBody>
          <a:bodyPr vert="horz"/>
          <a:lstStyle>
            <a:lvl1pPr algn="ctr">
              <a:lnSpc>
                <a:spcPct val="80000"/>
              </a:lnSpc>
              <a:defRPr sz="3600" kern="1200" cap="all"/>
            </a:lvl1pPr>
          </a:lstStyle>
          <a:p>
            <a:r>
              <a:rPr lang="en-US" dirty="0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519186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png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55.xml"/><Relationship Id="rId34" Type="http://schemas.openxmlformats.org/officeDocument/2006/relationships/tags" Target="../tags/tag32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97.xml"/><Relationship Id="rId34" Type="http://schemas.openxmlformats.org/officeDocument/2006/relationships/tags" Target="../tags/tag63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slideLayout" Target="../slideLayouts/slideLayout108.xml"/><Relationship Id="rId37" Type="http://schemas.openxmlformats.org/officeDocument/2006/relationships/image" Target="../media/image21.png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slideLayout" Target="../slideLayouts/slideLayout106.xml"/><Relationship Id="rId35" Type="http://schemas.openxmlformats.org/officeDocument/2006/relationships/oleObject" Target="../embeddings/oleObject32.bin"/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887195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5332413"/>
            <a:ext cx="9151938" cy="393700"/>
          </a:xfrm>
          <a:prstGeom prst="rect">
            <a:avLst/>
          </a:prstGeom>
          <a:gradFill flip="none" rotWithShape="1">
            <a:gsLst>
              <a:gs pos="51000">
                <a:srgbClr val="262673"/>
              </a:gs>
              <a:gs pos="100000">
                <a:schemeClr val="tx1"/>
              </a:gs>
              <a:gs pos="0">
                <a:schemeClr val="tx1"/>
              </a:gs>
            </a:gsLst>
            <a:lin ang="0" scaled="1"/>
            <a:tileRect/>
          </a:gra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800" baseline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867211" name="Slide Number Placeholder 5"/>
          <p:cNvSpPr txBox="1">
            <a:spLocks/>
          </p:cNvSpPr>
          <p:nvPr/>
        </p:nvSpPr>
        <p:spPr bwMode="auto">
          <a:xfrm>
            <a:off x="4019552" y="5378450"/>
            <a:ext cx="106521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US" sz="800" b="1" baseline="0" dirty="0">
                <a:solidFill>
                  <a:srgbClr val="FFFFFF"/>
                </a:solidFill>
                <a:cs typeface="Arial" charset="0"/>
              </a:rPr>
              <a:t>Confidential</a:t>
            </a:r>
          </a:p>
        </p:txBody>
      </p:sp>
      <p:pic>
        <p:nvPicPr>
          <p:cNvPr id="2" name="Picture 6" descr="Epson ExceedYourVision RES.png"/>
          <p:cNvPicPr>
            <a:picLocks noChangeAspect="1"/>
          </p:cNvPicPr>
          <p:nvPr userDrawn="1"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00025" y="120651"/>
            <a:ext cx="1064080" cy="46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501920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Master Layout General Guideline Slide </a:t>
            </a:r>
            <a:br>
              <a:rPr lang="en-US" dirty="0"/>
            </a:br>
            <a:r>
              <a:rPr lang="en-US" dirty="0"/>
              <a:t>*Don’t Use*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447800"/>
            <a:ext cx="8229600" cy="3771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944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96CA2B-23C0-4570-9F3F-93F3603F615B}" type="datetimeFigureOut">
              <a:rPr lang="en-US" smtClean="0"/>
              <a:pPr/>
              <a:t>03/17/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990505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5E68C4-1F37-498F-99A9-00338ACDCE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619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84" r:id="rId2"/>
    <p:sldLayoutId id="2147483689" r:id="rId3"/>
    <p:sldLayoutId id="2147483662" r:id="rId4"/>
    <p:sldLayoutId id="2147483667" r:id="rId5"/>
    <p:sldLayoutId id="2147483664" r:id="rId6"/>
    <p:sldLayoutId id="2147483683" r:id="rId7"/>
    <p:sldLayoutId id="2147483670" r:id="rId8"/>
    <p:sldLayoutId id="2147483676" r:id="rId9"/>
    <p:sldLayoutId id="2147483672" r:id="rId10"/>
    <p:sldLayoutId id="2147483681" r:id="rId11"/>
    <p:sldLayoutId id="2147483680" r:id="rId12"/>
    <p:sldLayoutId id="2147483693" r:id="rId13"/>
    <p:sldLayoutId id="2147483694" r:id="rId14"/>
    <p:sldLayoutId id="2147483669" r:id="rId15"/>
    <p:sldLayoutId id="2147483671" r:id="rId16"/>
    <p:sldLayoutId id="2147483665" r:id="rId17"/>
    <p:sldLayoutId id="2147483685" r:id="rId18"/>
    <p:sldLayoutId id="2147483688" r:id="rId19"/>
    <p:sldLayoutId id="2147483687" r:id="rId20"/>
    <p:sldLayoutId id="2147483674" r:id="rId21"/>
    <p:sldLayoutId id="2147483682" r:id="rId22"/>
    <p:sldLayoutId id="2147483666" r:id="rId23"/>
    <p:sldLayoutId id="2147483695" r:id="rId24"/>
    <p:sldLayoutId id="2147483697" r:id="rId25"/>
    <p:sldLayoutId id="2147483700" r:id="rId26"/>
    <p:sldLayoutId id="2147483696" r:id="rId27"/>
    <p:sldLayoutId id="2147483661" r:id="rId28"/>
    <p:sldLayoutId id="2147483699" r:id="rId29"/>
    <p:sldLayoutId id="2147483701" r:id="rId30"/>
    <p:sldLayoutId id="2147483705" r:id="rId31"/>
    <p:sldLayoutId id="2147483739" r:id="rId32"/>
    <p:sldLayoutId id="2147483797" r:id="rId33"/>
    <p:sldLayoutId id="2147483798" r:id="rId34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aseline="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5332413"/>
            <a:ext cx="9151938" cy="393700"/>
          </a:xfrm>
          <a:prstGeom prst="rect">
            <a:avLst/>
          </a:prstGeom>
          <a:gradFill flip="none" rotWithShape="1">
            <a:gsLst>
              <a:gs pos="51000">
                <a:srgbClr val="262673"/>
              </a:gs>
              <a:gs pos="100000">
                <a:schemeClr val="tx1"/>
              </a:gs>
              <a:gs pos="0">
                <a:schemeClr val="tx1"/>
              </a:gs>
            </a:gsLst>
            <a:lin ang="0" scaled="1"/>
            <a:tileRect/>
          </a:gra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800" baseline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867211" name="Slide Number Placeholder 5"/>
          <p:cNvSpPr txBox="1">
            <a:spLocks/>
          </p:cNvSpPr>
          <p:nvPr/>
        </p:nvSpPr>
        <p:spPr bwMode="auto">
          <a:xfrm>
            <a:off x="4019552" y="5378450"/>
            <a:ext cx="106521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US" sz="800" b="1" baseline="0" dirty="0">
                <a:solidFill>
                  <a:srgbClr val="FFFFFF"/>
                </a:solidFill>
                <a:cs typeface="Arial" charset="0"/>
              </a:rPr>
              <a:t>Confidential</a:t>
            </a:r>
          </a:p>
        </p:txBody>
      </p:sp>
      <p:pic>
        <p:nvPicPr>
          <p:cNvPr id="2" name="Picture 6" descr="Epson ExceedYourVision RES.png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00025" y="120651"/>
            <a:ext cx="1064080" cy="46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501920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Master Layout General Guideline Slide </a:t>
            </a:r>
            <a:br>
              <a:rPr lang="en-US" dirty="0"/>
            </a:br>
            <a:r>
              <a:rPr lang="en-US" dirty="0"/>
              <a:t>*Don’t Use*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447800"/>
            <a:ext cx="8229600" cy="3771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944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96CA2B-23C0-4570-9F3F-93F3603F615B}" type="datetimeFigureOut">
              <a:rPr lang="en-US" smtClean="0"/>
              <a:pPr/>
              <a:t>03/17/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990505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5E68C4-1F37-498F-99A9-00338ACDCE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840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aseline="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682D2E0-F9C2-C84D-9771-49CA7B327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9FF447-C5BD-C04E-AA68-E12A0A83CA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C9E6A4-12CF-3B4C-9B9A-CC78F03635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F0E8A9-A5AD-6B4C-85AD-9318CE5746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70076A-1356-BA41-8BFC-2CEBB182E9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6CDAAEE-A9DE-FC47-AAC8-03389D2351D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47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34813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0" y="5332413"/>
            <a:ext cx="9151938" cy="393700"/>
          </a:xfrm>
          <a:prstGeom prst="rect">
            <a:avLst/>
          </a:prstGeom>
          <a:gradFill flip="none" rotWithShape="1">
            <a:gsLst>
              <a:gs pos="51000">
                <a:srgbClr val="262673"/>
              </a:gs>
              <a:gs pos="100000">
                <a:schemeClr val="tx1"/>
              </a:gs>
              <a:gs pos="0">
                <a:schemeClr val="tx1"/>
              </a:gs>
            </a:gsLst>
            <a:lin ang="0" scaled="1"/>
            <a:tileRect/>
          </a:gra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800" baseline="0">
              <a:solidFill>
                <a:srgbClr val="FFFFFF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2867211" name="Slide Number Placeholder 5"/>
          <p:cNvSpPr txBox="1">
            <a:spLocks/>
          </p:cNvSpPr>
          <p:nvPr/>
        </p:nvSpPr>
        <p:spPr bwMode="auto">
          <a:xfrm>
            <a:off x="4019552" y="5378450"/>
            <a:ext cx="1065213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r>
              <a:rPr lang="en-US" sz="800" b="1" baseline="0" dirty="0">
                <a:solidFill>
                  <a:srgbClr val="FFFFFF"/>
                </a:solidFill>
                <a:cs typeface="Arial" charset="0"/>
              </a:rPr>
              <a:t>Confidential</a:t>
            </a:r>
          </a:p>
        </p:txBody>
      </p:sp>
      <p:pic>
        <p:nvPicPr>
          <p:cNvPr id="2" name="Picture 6" descr="Epson ExceedYourVision RES.png"/>
          <p:cNvPicPr>
            <a:picLocks noChangeAspect="1"/>
          </p:cNvPicPr>
          <p:nvPr userDrawn="1"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00025" y="120651"/>
            <a:ext cx="1064080" cy="46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501920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Master Layout General Guideline Slide </a:t>
            </a:r>
            <a:br>
              <a:rPr lang="en-US" dirty="0"/>
            </a:br>
            <a:r>
              <a:rPr lang="en-US" dirty="0"/>
              <a:t>*Don’t Use*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200" y="1447800"/>
            <a:ext cx="8229600" cy="3771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944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96CA2B-23C0-4570-9F3F-93F3603F615B}" type="datetimeFigureOut">
              <a:rPr lang="en-US" smtClean="0"/>
              <a:pPr/>
              <a:t>03/17/2023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990505" y="5373688"/>
            <a:ext cx="2133600" cy="3032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5E68C4-1F37-498F-99A9-00338ACDCE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371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</p:sldLayoutIdLst>
  <p:hf sldNum="0"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aseline="0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Osaka" charset="0"/>
          <a:cs typeface="Osak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83C872D-71E3-4581-9D72-FEE4DA5EDB8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228865"/>
            <a:ext cx="8229600" cy="533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18DC30F-E487-41F2-B90D-24E14FF9443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333500"/>
            <a:ext cx="8229600" cy="3771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B656DF4-BA87-4E67-86EE-F217CB134F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4800" y="5296959"/>
            <a:ext cx="457200" cy="30427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481E88AE-6CA1-43BF-8329-C844EDE2331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051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hf hdr="0" ftr="0" dt="0"/>
  <p:txStyles>
    <p:titleStyle>
      <a:lvl1pPr algn="l" defTabSz="380985" rtl="0" eaLnBrk="0" fontAlgn="base" hangingPunct="0">
        <a:spcBef>
          <a:spcPct val="0"/>
        </a:spcBef>
        <a:spcAft>
          <a:spcPct val="0"/>
        </a:spcAft>
        <a:defRPr sz="2333" b="1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l" defTabSz="380985" rtl="0" eaLnBrk="0" fontAlgn="base" hangingPunct="0">
        <a:spcBef>
          <a:spcPct val="0"/>
        </a:spcBef>
        <a:spcAft>
          <a:spcPct val="0"/>
        </a:spcAft>
        <a:defRPr sz="2333" b="1">
          <a:solidFill>
            <a:schemeClr val="tx1"/>
          </a:solidFill>
          <a:latin typeface="Arial" pitchFamily="34" charset="0"/>
          <a:ea typeface="ＭＳ Ｐゴシック" pitchFamily="34" charset="-128"/>
          <a:cs typeface="ＭＳ Ｐゴシック" pitchFamily="-65" charset="-128"/>
        </a:defRPr>
      </a:lvl2pPr>
      <a:lvl3pPr algn="l" defTabSz="380985" rtl="0" eaLnBrk="0" fontAlgn="base" hangingPunct="0">
        <a:spcBef>
          <a:spcPct val="0"/>
        </a:spcBef>
        <a:spcAft>
          <a:spcPct val="0"/>
        </a:spcAft>
        <a:defRPr sz="2333" b="1">
          <a:solidFill>
            <a:schemeClr val="tx1"/>
          </a:solidFill>
          <a:latin typeface="Arial" pitchFamily="34" charset="0"/>
          <a:ea typeface="ＭＳ Ｐゴシック" pitchFamily="34" charset="-128"/>
          <a:cs typeface="ＭＳ Ｐゴシック" pitchFamily="-65" charset="-128"/>
        </a:defRPr>
      </a:lvl3pPr>
      <a:lvl4pPr algn="l" defTabSz="380985" rtl="0" eaLnBrk="0" fontAlgn="base" hangingPunct="0">
        <a:spcBef>
          <a:spcPct val="0"/>
        </a:spcBef>
        <a:spcAft>
          <a:spcPct val="0"/>
        </a:spcAft>
        <a:defRPr sz="2333" b="1">
          <a:solidFill>
            <a:schemeClr val="tx1"/>
          </a:solidFill>
          <a:latin typeface="Arial" pitchFamily="34" charset="0"/>
          <a:ea typeface="ＭＳ Ｐゴシック" pitchFamily="34" charset="-128"/>
          <a:cs typeface="ＭＳ Ｐゴシック" pitchFamily="-65" charset="-128"/>
        </a:defRPr>
      </a:lvl4pPr>
      <a:lvl5pPr algn="l" defTabSz="380985" rtl="0" eaLnBrk="0" fontAlgn="base" hangingPunct="0">
        <a:spcBef>
          <a:spcPct val="0"/>
        </a:spcBef>
        <a:spcAft>
          <a:spcPct val="0"/>
        </a:spcAft>
        <a:defRPr sz="2333" b="1">
          <a:solidFill>
            <a:schemeClr val="tx1"/>
          </a:solidFill>
          <a:latin typeface="Arial" pitchFamily="34" charset="0"/>
          <a:ea typeface="ＭＳ Ｐゴシック" pitchFamily="34" charset="-128"/>
          <a:cs typeface="ＭＳ Ｐゴシック" pitchFamily="-65" charset="-128"/>
        </a:defRPr>
      </a:lvl5pPr>
      <a:lvl6pPr marL="380985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-65" charset="0"/>
          <a:ea typeface="ＭＳ Ｐゴシック" pitchFamily="-65" charset="-128"/>
          <a:cs typeface="ＭＳ Ｐゴシック" pitchFamily="-65" charset="-128"/>
        </a:defRPr>
      </a:lvl6pPr>
      <a:lvl7pPr marL="761970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-65" charset="0"/>
          <a:ea typeface="ＭＳ Ｐゴシック" pitchFamily="-65" charset="-128"/>
          <a:cs typeface="ＭＳ Ｐゴシック" pitchFamily="-65" charset="-128"/>
        </a:defRPr>
      </a:lvl7pPr>
      <a:lvl8pPr marL="1142954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-65" charset="0"/>
          <a:ea typeface="ＭＳ Ｐゴシック" pitchFamily="-65" charset="-128"/>
          <a:cs typeface="ＭＳ Ｐゴシック" pitchFamily="-65" charset="-128"/>
        </a:defRPr>
      </a:lvl8pPr>
      <a:lvl9pPr marL="1523939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Calibri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85739" indent="-285739" algn="l" defTabSz="3809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619100" indent="-238115" algn="l" defTabSz="3809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67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952462" indent="-190492" algn="l" defTabSz="3809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333447" indent="-190492" algn="l" defTabSz="3809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67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1714431" indent="-190492" algn="l" defTabSz="3809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67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7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0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46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emf"/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08457" y="993093"/>
            <a:ext cx="6035926" cy="2266943"/>
          </a:xfrm>
        </p:spPr>
        <p:txBody>
          <a:bodyPr/>
          <a:lstStyle/>
          <a:p>
            <a:r>
              <a:rPr lang="en-US" dirty="0"/>
              <a:t>Color label printing opportunities</a:t>
            </a:r>
            <a:br>
              <a:rPr lang="en-US" dirty="0"/>
            </a:br>
            <a:r>
              <a:rPr lang="en-US" dirty="0"/>
              <a:t>within </a:t>
            </a:r>
            <a:r>
              <a:rPr lang="en-US" dirty="0" err="1"/>
              <a:t>hEalthcare</a:t>
            </a:r>
            <a:endParaRPr lang="en-US" sz="4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dirty="0"/>
              <a:t>Andy Scherz</a:t>
            </a:r>
          </a:p>
          <a:p>
            <a:r>
              <a:rPr lang="en-US" dirty="0"/>
              <a:t>MAY 2020</a:t>
            </a:r>
          </a:p>
        </p:txBody>
      </p:sp>
    </p:spTree>
    <p:extLst>
      <p:ext uri="{BB962C8B-B14F-4D97-AF65-F5344CB8AC3E}">
        <p14:creationId xmlns:p14="http://schemas.microsoft.com/office/powerpoint/2010/main" val="30305863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-83707"/>
            <a:ext cx="8229600" cy="952500"/>
          </a:xfrm>
        </p:spPr>
        <p:txBody>
          <a:bodyPr/>
          <a:lstStyle/>
          <a:p>
            <a:r>
              <a:rPr lang="en-US" dirty="0"/>
              <a:t>Prints Syringe Label Dynamicall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931312" y="1547562"/>
            <a:ext cx="4407617" cy="310335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895433"/>
            <a:ext cx="5019048" cy="1333333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80806" y="1994768"/>
            <a:ext cx="4745241" cy="2208945"/>
          </a:xfrm>
        </p:spPr>
        <p:txBody>
          <a:bodyPr/>
          <a:lstStyle/>
          <a:p>
            <a:r>
              <a:rPr lang="en-US" dirty="0"/>
              <a:t>Color helps prevent errors</a:t>
            </a:r>
          </a:p>
          <a:p>
            <a:r>
              <a:rPr lang="en-US" dirty="0"/>
              <a:t>Print on demand as exact patient information entered</a:t>
            </a:r>
          </a:p>
          <a:p>
            <a:r>
              <a:rPr lang="en-US" dirty="0"/>
              <a:t>Each syringe is carefully labeled as prepared at car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401643" y="3292672"/>
            <a:ext cx="1130161" cy="289059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12019" y="4964494"/>
            <a:ext cx="12739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 I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" name="Straight Arrow Connector 8"/>
          <p:cNvCxnSpPr>
            <a:stCxn id="7" idx="1"/>
          </p:cNvCxnSpPr>
          <p:nvPr/>
        </p:nvCxnSpPr>
        <p:spPr bwMode="auto">
          <a:xfrm flipH="1">
            <a:off x="4006921" y="5118383"/>
            <a:ext cx="405098" cy="153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TextBox 9"/>
          <p:cNvSpPr txBox="1"/>
          <p:nvPr/>
        </p:nvSpPr>
        <p:spPr>
          <a:xfrm>
            <a:off x="4412019" y="4641328"/>
            <a:ext cx="12739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. I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" name="Straight Arrow Connector 10"/>
          <p:cNvCxnSpPr>
            <a:stCxn id="10" idx="1"/>
          </p:cNvCxnSpPr>
          <p:nvPr/>
        </p:nvCxnSpPr>
        <p:spPr bwMode="auto">
          <a:xfrm flipH="1">
            <a:off x="4006921" y="4795217"/>
            <a:ext cx="405098" cy="76944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3081" y="4172886"/>
            <a:ext cx="12739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CTI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3" name="Straight Arrow Connector 12"/>
          <p:cNvCxnSpPr/>
          <p:nvPr/>
        </p:nvCxnSpPr>
        <p:spPr bwMode="auto">
          <a:xfrm>
            <a:off x="1140182" y="4334493"/>
            <a:ext cx="524288" cy="80333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33082" y="4463382"/>
            <a:ext cx="1434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CT DOS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" name="Straight Arrow Connector 15"/>
          <p:cNvCxnSpPr/>
          <p:nvPr/>
        </p:nvCxnSpPr>
        <p:spPr bwMode="auto">
          <a:xfrm>
            <a:off x="1312881" y="4579872"/>
            <a:ext cx="299821" cy="587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8" name="TextBox 17"/>
          <p:cNvSpPr txBox="1"/>
          <p:nvPr/>
        </p:nvSpPr>
        <p:spPr>
          <a:xfrm>
            <a:off x="33082" y="4770885"/>
            <a:ext cx="14347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 TIM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Arrow Connector 18"/>
          <p:cNvCxnSpPr/>
          <p:nvPr/>
        </p:nvCxnSpPr>
        <p:spPr bwMode="auto">
          <a:xfrm>
            <a:off x="1312881" y="4887375"/>
            <a:ext cx="299821" cy="587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4463787" y="4137828"/>
            <a:ext cx="12739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OR COD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2" name="Straight Arrow Connector 21"/>
          <p:cNvCxnSpPr>
            <a:stCxn id="21" idx="1"/>
          </p:cNvCxnSpPr>
          <p:nvPr/>
        </p:nvCxnSpPr>
        <p:spPr bwMode="auto">
          <a:xfrm flipH="1">
            <a:off x="3625675" y="4399438"/>
            <a:ext cx="838112" cy="264974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4" name="Oval 23"/>
          <p:cNvSpPr/>
          <p:nvPr/>
        </p:nvSpPr>
        <p:spPr bwMode="auto">
          <a:xfrm>
            <a:off x="3620460" y="4601370"/>
            <a:ext cx="133409" cy="92334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-25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05534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70216" y="932698"/>
            <a:ext cx="4875088" cy="3546833"/>
          </a:xfrm>
        </p:spPr>
        <p:txBody>
          <a:bodyPr/>
          <a:lstStyle/>
          <a:p>
            <a:r>
              <a:rPr lang="en-US" dirty="0"/>
              <a:t>IV bag labels</a:t>
            </a:r>
          </a:p>
          <a:p>
            <a:r>
              <a:rPr lang="en-US" dirty="0"/>
              <a:t>Each mixture is custom to specific patient</a:t>
            </a:r>
          </a:p>
          <a:p>
            <a:pPr lvl="1"/>
            <a:r>
              <a:rPr lang="en-US" dirty="0"/>
              <a:t>Cannot be pre-printed</a:t>
            </a:r>
          </a:p>
          <a:p>
            <a:pPr lvl="1"/>
            <a:r>
              <a:rPr lang="en-US" dirty="0"/>
              <a:t>Color coding required for safety</a:t>
            </a:r>
          </a:p>
          <a:p>
            <a:r>
              <a:rPr lang="en-US" dirty="0"/>
              <a:t>Requires strong tie to IT system for correct label conten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34602" y="-112268"/>
            <a:ext cx="8229600" cy="952500"/>
          </a:xfrm>
        </p:spPr>
        <p:txBody>
          <a:bodyPr/>
          <a:lstStyle/>
          <a:p>
            <a:r>
              <a:rPr lang="en-US" dirty="0"/>
              <a:t>Medical Hospital – Custom Drug Lab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349" y="840232"/>
            <a:ext cx="1696651" cy="417865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512" y="1690726"/>
            <a:ext cx="2772162" cy="1371791"/>
          </a:xfrm>
          <a:prstGeom prst="rect">
            <a:avLst/>
          </a:prstGeom>
          <a:ln w="19050"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68714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EC24325-238A-2649-A57A-1455A6ED7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dical Devices Demand Colo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7EAB09-B4FA-BA4A-A68C-2A5CE6006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6CDAAEE-A9DE-FC47-AAC8-03389D2351D9}" type="slidenum">
              <a:rPr lang="en-US">
                <a:solidFill>
                  <a:srgbClr val="1B75BC"/>
                </a:solidFill>
              </a:rPr>
              <a:pPr defTabSz="685800"/>
              <a:t>12</a:t>
            </a:fld>
            <a:endParaRPr lang="en-US">
              <a:solidFill>
                <a:srgbClr val="1B75BC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37BA44-749B-2A41-A928-ECC8FEB48336}"/>
              </a:ext>
            </a:extLst>
          </p:cNvPr>
          <p:cNvSpPr/>
          <p:nvPr/>
        </p:nvSpPr>
        <p:spPr bwMode="auto">
          <a:xfrm>
            <a:off x="3824539" y="1483754"/>
            <a:ext cx="4924700" cy="3327621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ts val="900"/>
              </a:spcAft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pson ColorWorks printers:</a:t>
            </a:r>
          </a:p>
          <a:p>
            <a:pPr marL="214313" indent="-214313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ffortlessly handle variable color content, custom label designs, diverse sizes, and evolving requirements </a:t>
            </a:r>
          </a:p>
          <a:p>
            <a:pPr marL="214313" indent="-214313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High resolution images, barcodes, and text</a:t>
            </a:r>
          </a:p>
          <a:p>
            <a:pPr marL="214313" indent="-214313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liminate pre-printed labels</a:t>
            </a:r>
          </a:p>
          <a:p>
            <a:pPr marL="214313" indent="-214313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S5609 certified labels last under extreme conditions</a:t>
            </a:r>
          </a:p>
          <a:p>
            <a:pPr marL="214313" indent="-214313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onnectivity with required enterprise software</a:t>
            </a:r>
          </a:p>
          <a:p>
            <a:pPr marL="257175" indent="-257175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solidFill>
                  <a:srgbClr val="FFFFFF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mooth integration into production workflow with its ZPL II, I/O port, and peeler features</a:t>
            </a:r>
          </a:p>
          <a:p>
            <a:pPr marL="257175" indent="-257175" defTabSz="685800" fontAlgn="base">
              <a:spcBef>
                <a:spcPct val="0"/>
              </a:spcBef>
              <a:spcAft>
                <a:spcPts val="900"/>
              </a:spcAft>
              <a:buFont typeface="Arial" panose="020B0604020202020204" pitchFamily="34" charset="0"/>
              <a:buChar char="•"/>
            </a:pPr>
            <a:endParaRPr lang="en-US" sz="1500" dirty="0">
              <a:solidFill>
                <a:srgbClr val="FFFFFF"/>
              </a:solidFill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101095-5CA5-49D8-B7D7-158C6FEB9F8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689" y="1728385"/>
            <a:ext cx="2473672" cy="267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382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45591" y="917447"/>
            <a:ext cx="5238407" cy="4242517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Trend from major to boutique brands</a:t>
            </a:r>
          </a:p>
          <a:p>
            <a:r>
              <a:rPr lang="en-US" dirty="0"/>
              <a:t>Increasing SKU count &amp; smaller runs</a:t>
            </a:r>
          </a:p>
          <a:p>
            <a:r>
              <a:rPr lang="en-US" dirty="0"/>
              <a:t>Product requirements</a:t>
            </a:r>
          </a:p>
          <a:p>
            <a:pPr lvl="1"/>
            <a:r>
              <a:rPr lang="en-US" dirty="0"/>
              <a:t>High print quality</a:t>
            </a:r>
          </a:p>
          <a:p>
            <a:pPr lvl="2"/>
            <a:r>
              <a:rPr lang="en-US" dirty="0"/>
              <a:t>C3500 limited by print quality</a:t>
            </a:r>
          </a:p>
          <a:p>
            <a:pPr lvl="2"/>
            <a:r>
              <a:rPr lang="en-US" dirty="0"/>
              <a:t>C7500 limited by size</a:t>
            </a:r>
          </a:p>
          <a:p>
            <a:pPr lvl="1"/>
            <a:r>
              <a:rPr lang="en-US" dirty="0"/>
              <a:t>Color matching and image control</a:t>
            </a:r>
          </a:p>
          <a:p>
            <a:pPr lvl="2"/>
            <a:r>
              <a:rPr lang="en-US" dirty="0"/>
              <a:t>C7500GE supports with Wasatch</a:t>
            </a:r>
          </a:p>
          <a:p>
            <a:pPr lvl="2"/>
            <a:r>
              <a:rPr lang="en-US" dirty="0"/>
              <a:t>C3500 not available</a:t>
            </a:r>
          </a:p>
          <a:p>
            <a:pPr lvl="1"/>
            <a:r>
              <a:rPr lang="en-US" dirty="0"/>
              <a:t>Full bleed</a:t>
            </a:r>
          </a:p>
          <a:p>
            <a:pPr lvl="1"/>
            <a:r>
              <a:rPr lang="en-US" dirty="0"/>
              <a:t>No need for complex system integration or remote management –  good fit for today’s products</a:t>
            </a:r>
          </a:p>
          <a:p>
            <a:r>
              <a:rPr lang="en-US" dirty="0"/>
              <a:t>End user prefers in house production</a:t>
            </a:r>
          </a:p>
          <a:p>
            <a:r>
              <a:rPr lang="en-US" dirty="0"/>
              <a:t>Cost per label very important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45591" y="-154761"/>
            <a:ext cx="8948263" cy="952500"/>
          </a:xfrm>
        </p:spPr>
        <p:txBody>
          <a:bodyPr>
            <a:normAutofit/>
          </a:bodyPr>
          <a:lstStyle/>
          <a:p>
            <a:r>
              <a:rPr lang="en-US" dirty="0"/>
              <a:t>Nutraceutical and Supplement Labe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664" y="691703"/>
            <a:ext cx="3169577" cy="29947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665" y="3925823"/>
            <a:ext cx="3169576" cy="119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9727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Title 1">
            <a:extLst>
              <a:ext uri="{FF2B5EF4-FFF2-40B4-BE49-F238E27FC236}">
                <a16:creationId xmlns:a16="http://schemas.microsoft.com/office/drawing/2014/main" id="{50B6B641-0918-4AA9-B7CD-89F452B16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169333"/>
            <a:ext cx="5651500" cy="508000"/>
          </a:xfrm>
        </p:spPr>
        <p:txBody>
          <a:bodyPr/>
          <a:lstStyle/>
          <a:p>
            <a:r>
              <a:rPr lang="en-US" altLang="en-US" dirty="0"/>
              <a:t>Wrist ID Ba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57A03-3F3B-4968-8595-0B0729E70D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3000" y="1125803"/>
            <a:ext cx="5905500" cy="1941862"/>
          </a:xfrm>
        </p:spPr>
        <p:txBody>
          <a:bodyPr/>
          <a:lstStyle/>
          <a:p>
            <a:pPr>
              <a:defRPr/>
            </a:pPr>
            <a:r>
              <a:rPr lang="en-US" dirty="0"/>
              <a:t>Photo ID</a:t>
            </a:r>
          </a:p>
          <a:p>
            <a:pPr>
              <a:defRPr/>
            </a:pPr>
            <a:r>
              <a:rPr lang="en-US" dirty="0"/>
              <a:t>Color highlights of safety risks</a:t>
            </a:r>
          </a:p>
          <a:p>
            <a:pPr lvl="1">
              <a:defRPr/>
            </a:pPr>
            <a:r>
              <a:rPr lang="en-US" dirty="0"/>
              <a:t>Allergies</a:t>
            </a:r>
          </a:p>
          <a:p>
            <a:pPr lvl="1">
              <a:defRPr/>
            </a:pPr>
            <a:r>
              <a:rPr lang="en-US" dirty="0"/>
              <a:t>Falls</a:t>
            </a:r>
          </a:p>
          <a:p>
            <a:pPr>
              <a:defRPr/>
            </a:pPr>
            <a:r>
              <a:rPr lang="en-US" dirty="0"/>
              <a:t>Hundreds shipped to VA</a:t>
            </a:r>
          </a:p>
        </p:txBody>
      </p:sp>
      <p:sp>
        <p:nvSpPr>
          <p:cNvPr id="72708" name="Slide Number Placeholder 3">
            <a:extLst>
              <a:ext uri="{FF2B5EF4-FFF2-40B4-BE49-F238E27FC236}">
                <a16:creationId xmlns:a16="http://schemas.microsoft.com/office/drawing/2014/main" id="{D3C218E7-AA7E-4293-B1DE-06ECC4C4B2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19100" indent="-238115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952462" indent="-190492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333447" indent="-190492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714431" indent="-190492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095416" indent="-190492" defTabSz="38098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476401" indent="-190492" defTabSz="38098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2857386" indent="-190492" defTabSz="38098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238370" indent="-190492" defTabSz="38098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380985" eaLnBrk="1" fontAlgn="base" hangingPunct="1">
              <a:spcBef>
                <a:spcPct val="0"/>
              </a:spcBef>
              <a:spcAft>
                <a:spcPct val="0"/>
              </a:spcAft>
            </a:pPr>
            <a:fld id="{D9321BCB-2947-45B1-8EE5-A6D44683E90B}" type="slidenum">
              <a:rPr lang="en-US" altLang="en-US" sz="1000">
                <a:solidFill>
                  <a:srgbClr val="898989"/>
                </a:solidFill>
                <a:latin typeface="Calibri" panose="020F0502020204030204" pitchFamily="34" charset="0"/>
              </a:rPr>
              <a:pPr defTabSz="380985"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altLang="en-US" sz="100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pic>
        <p:nvPicPr>
          <p:cNvPr id="72710" name="Picture 5" descr="WB2">
            <a:extLst>
              <a:ext uri="{FF2B5EF4-FFF2-40B4-BE49-F238E27FC236}">
                <a16:creationId xmlns:a16="http://schemas.microsoft.com/office/drawing/2014/main" id="{3D1A3E2E-4B69-4D64-B59E-1725632BF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142" y="3525967"/>
            <a:ext cx="8707296" cy="790394"/>
          </a:xfrm>
          <a:prstGeom prst="rect">
            <a:avLst/>
          </a:prstGeom>
          <a:solidFill>
            <a:srgbClr val="4F81BD"/>
          </a:solidFill>
          <a:ln w="9525">
            <a:solidFill>
              <a:srgbClr val="000000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9890A-C121-4D63-976A-5867C72B6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013" y="0"/>
            <a:ext cx="8229600" cy="952500"/>
          </a:xfrm>
        </p:spPr>
        <p:txBody>
          <a:bodyPr/>
          <a:lstStyle/>
          <a:p>
            <a:r>
              <a:rPr lang="en-US" dirty="0"/>
              <a:t>Color Enables Fast Rea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D22FFD-73DA-4525-9077-930C230371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76335" y="1939413"/>
            <a:ext cx="2620297" cy="2042652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CDW sold 125 C3500 printers to aid in special Covid-19 testing applica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959BC8-8277-44BE-AB2C-13EE68D3051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626" y="1533833"/>
            <a:ext cx="5587723" cy="3170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354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/>
          </p:cNvSpPr>
          <p:nvPr>
            <p:ph type="title"/>
          </p:nvPr>
        </p:nvSpPr>
        <p:spPr>
          <a:xfrm>
            <a:off x="457200" y="438150"/>
            <a:ext cx="6781800" cy="457200"/>
          </a:xfrm>
        </p:spPr>
        <p:txBody>
          <a:bodyPr/>
          <a:lstStyle/>
          <a:p>
            <a:r>
              <a:rPr lang="en-US" sz="2400" dirty="0">
                <a:latin typeface="Arial" charset="0"/>
                <a:cs typeface="Arial" charset="0"/>
              </a:rPr>
              <a:t>In-House Pharmacy Value Proposition</a:t>
            </a:r>
          </a:p>
        </p:txBody>
      </p:sp>
      <p:sp>
        <p:nvSpPr>
          <p:cNvPr id="21507" name="Rectangle 3"/>
          <p:cNvSpPr>
            <a:spLocks noGrp="1"/>
          </p:cNvSpPr>
          <p:nvPr>
            <p:ph type="body" sz="quarter" idx="10"/>
          </p:nvPr>
        </p:nvSpPr>
        <p:spPr>
          <a:xfrm>
            <a:off x="330740" y="949664"/>
            <a:ext cx="8365788" cy="4131822"/>
          </a:xfrm>
        </p:spPr>
        <p:txBody>
          <a:bodyPr/>
          <a:lstStyle/>
          <a:p>
            <a:pPr>
              <a:buFontTx/>
              <a:buNone/>
            </a:pPr>
            <a:r>
              <a:rPr lang="en-US" sz="2400" dirty="0">
                <a:latin typeface="Arial" charset="0"/>
                <a:cs typeface="Arial" charset="0"/>
              </a:rPr>
              <a:t>Industry Errors:</a:t>
            </a:r>
          </a:p>
          <a:p>
            <a:r>
              <a:rPr lang="en-US" sz="1600" dirty="0">
                <a:latin typeface="Arial" charset="0"/>
                <a:cs typeface="Arial" charset="0"/>
              </a:rPr>
              <a:t>Journal American Pharmacists Association - 2009</a:t>
            </a:r>
          </a:p>
          <a:p>
            <a:pPr lvl="1"/>
            <a:r>
              <a:rPr lang="en-US" sz="1200" dirty="0">
                <a:latin typeface="Arial" charset="0"/>
                <a:cs typeface="Arial" charset="0"/>
              </a:rPr>
              <a:t>“Dispensing errors are common in hospitals and nursing homes 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as well as in community drugstores.”</a:t>
            </a:r>
            <a:endParaRPr lang="en-US" sz="1100" dirty="0">
              <a:latin typeface="Arial" charset="0"/>
              <a:cs typeface="Arial" charset="0"/>
            </a:endParaRPr>
          </a:p>
          <a:p>
            <a:r>
              <a:rPr lang="en-US" sz="1600" dirty="0">
                <a:latin typeface="Arial" charset="0"/>
                <a:cs typeface="Arial" charset="0"/>
              </a:rPr>
              <a:t>US Pharmacist.com 2008</a:t>
            </a:r>
          </a:p>
          <a:p>
            <a:pPr lvl="1"/>
            <a:r>
              <a:rPr lang="en-US" sz="1200" dirty="0">
                <a:latin typeface="Arial" charset="0"/>
                <a:cs typeface="Arial" charset="0"/>
              </a:rPr>
              <a:t>"The typical retail pharmacist admitted to making an 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average of 2.5 errors during the previous two-month period, </a:t>
            </a:r>
            <a:br>
              <a:rPr lang="en-US" sz="1200" dirty="0">
                <a:latin typeface="Arial" charset="0"/>
                <a:cs typeface="Arial" charset="0"/>
              </a:rPr>
            </a:br>
            <a:r>
              <a:rPr lang="en-US" sz="1200" dirty="0">
                <a:latin typeface="Arial" charset="0"/>
                <a:cs typeface="Arial" charset="0"/>
              </a:rPr>
              <a:t>and 8% believed that they made more than six.”</a:t>
            </a:r>
          </a:p>
          <a:p>
            <a:r>
              <a:rPr lang="en-US" sz="1600" dirty="0">
                <a:latin typeface="Arial" charset="0"/>
                <a:cs typeface="Arial" charset="0"/>
              </a:rPr>
              <a:t>J Am Pharm Assoc. 2003</a:t>
            </a:r>
            <a:br>
              <a:rPr lang="en-US" sz="1600" dirty="0">
                <a:latin typeface="Arial" charset="0"/>
                <a:cs typeface="Arial" charset="0"/>
              </a:rPr>
            </a:br>
            <a:r>
              <a:rPr lang="en-US" sz="1600" dirty="0">
                <a:latin typeface="Arial" charset="0"/>
                <a:cs typeface="Arial" charset="0"/>
              </a:rPr>
              <a:t>American Pharmacists Association  2003</a:t>
            </a:r>
          </a:p>
          <a:p>
            <a:pPr lvl="1"/>
            <a:r>
              <a:rPr lang="en-US" sz="1200" dirty="0">
                <a:latin typeface="Arial" charset="0"/>
                <a:cs typeface="Arial" charset="0"/>
              </a:rPr>
              <a:t>“Dispensing errors are a problem on a national level, at a rate of about 4 errors per day in a pharmacy filling 250 prescriptions daily. An estimated 1.5 million errors occur during the filling of 3 billion prescriptions each year.”</a:t>
            </a:r>
            <a:endParaRPr lang="en-US" sz="1100" dirty="0">
              <a:latin typeface="Arial" charset="0"/>
              <a:cs typeface="Arial" charset="0"/>
            </a:endParaRPr>
          </a:p>
          <a:p>
            <a:r>
              <a:rPr lang="en-US" sz="1600" dirty="0">
                <a:latin typeface="Arial" charset="0"/>
                <a:cs typeface="Arial" charset="0"/>
              </a:rPr>
              <a:t>Journal American Medical Association Jan 1997</a:t>
            </a:r>
          </a:p>
          <a:p>
            <a:pPr lvl="1"/>
            <a:r>
              <a:rPr lang="en-US" sz="1200" dirty="0">
                <a:latin typeface="Arial" charset="0"/>
                <a:cs typeface="Arial" charset="0"/>
              </a:rPr>
              <a:t>Average cost of Adverse Drug Event is $5,857</a:t>
            </a:r>
            <a:endParaRPr lang="en-US" sz="700" dirty="0">
              <a:latin typeface="Arial" charset="0"/>
              <a:cs typeface="Arial" charset="0"/>
            </a:endParaRPr>
          </a:p>
          <a:p>
            <a:endParaRPr lang="en-US" sz="1100" dirty="0">
              <a:latin typeface="Arial" charset="0"/>
              <a:cs typeface="Arial" charset="0"/>
            </a:endParaRPr>
          </a:p>
          <a:p>
            <a:endParaRPr lang="en-US" sz="1100" dirty="0">
              <a:latin typeface="Arial" charset="0"/>
              <a:cs typeface="Arial" charset="0"/>
            </a:endParaRPr>
          </a:p>
          <a:p>
            <a:endParaRPr lang="en-US" sz="1100" dirty="0">
              <a:latin typeface="Arial" charset="0"/>
              <a:cs typeface="Arial" charset="0"/>
            </a:endParaRPr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3622791" y="5179970"/>
            <a:ext cx="1369378" cy="20574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en-US" sz="1000" b="1" i="1" dirty="0">
                <a:solidFill>
                  <a:schemeClr val="bg1"/>
                </a:solidFill>
              </a:rPr>
              <a:t>Epson Confidentia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1920" y="5120400"/>
            <a:ext cx="1132948" cy="2626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lvl="1"/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In-House Pharmacies</a:t>
            </a:r>
            <a:endParaRPr lang="en-US" sz="1200" dirty="0">
              <a:solidFill>
                <a:schemeClr val="accent6">
                  <a:lumMod val="75000"/>
                </a:schemeClr>
              </a:solidFill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0149118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AC48A3C-DD87-F946-B8B0-FAFAF88C7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ct Selecto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220D639-4FF6-0446-BD4A-BAFDD134B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DAAEE-A9DE-FC47-AAC8-03389D2351D9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id="{0179A342-358E-4A83-89ED-FA5FAF60A4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74003" y="1371359"/>
            <a:ext cx="806894" cy="597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759CBF0-AACF-4800-A33E-19CD2ACDB39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8990" y="1381125"/>
            <a:ext cx="684836" cy="563821"/>
          </a:xfrm>
          <a:prstGeom prst="rect">
            <a:avLst/>
          </a:prstGeom>
        </p:spPr>
      </p:pic>
      <p:pic>
        <p:nvPicPr>
          <p:cNvPr id="17" name="図 11">
            <a:extLst>
              <a:ext uri="{FF2B5EF4-FFF2-40B4-BE49-F238E27FC236}">
                <a16:creationId xmlns:a16="http://schemas.microsoft.com/office/drawing/2014/main" id="{7B089BE0-18D6-4650-9E54-C0DB2EC11F3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8580" y="1361592"/>
            <a:ext cx="901418" cy="676063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15DC866-3A84-4BAE-A162-344A25B876AF}"/>
              </a:ext>
            </a:extLst>
          </p:cNvPr>
          <p:cNvGraphicFramePr>
            <a:graphicFrameLocks noGrp="1"/>
          </p:cNvGraphicFramePr>
          <p:nvPr/>
        </p:nvGraphicFramePr>
        <p:xfrm>
          <a:off x="1392854" y="1998174"/>
          <a:ext cx="6579571" cy="29682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65711">
                  <a:extLst>
                    <a:ext uri="{9D8B030D-6E8A-4147-A177-3AD203B41FA5}">
                      <a16:colId xmlns:a16="http://schemas.microsoft.com/office/drawing/2014/main" val="1586790391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3827435161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539562158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2744683229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3283549710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1535721828"/>
                    </a:ext>
                  </a:extLst>
                </a:gridCol>
                <a:gridCol w="902310">
                  <a:extLst>
                    <a:ext uri="{9D8B030D-6E8A-4147-A177-3AD203B41FA5}">
                      <a16:colId xmlns:a16="http://schemas.microsoft.com/office/drawing/2014/main" val="1649351183"/>
                    </a:ext>
                  </a:extLst>
                </a:gridCol>
              </a:tblGrid>
              <a:tr h="186122">
                <a:tc>
                  <a:txBody>
                    <a:bodyPr/>
                    <a:lstStyle/>
                    <a:p>
                      <a:r>
                        <a:rPr lang="en-US" sz="900" b="1">
                          <a:effectLst/>
                          <a:latin typeface="+mj-lt"/>
                        </a:rPr>
                        <a:t>Attribute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60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65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7500G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75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35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>
                          <a:effectLst/>
                          <a:latin typeface="+mj-lt"/>
                        </a:rPr>
                        <a:t>C831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1052058269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SRP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2,580-3,05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3,500-3,98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8,819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8,819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1,919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$2,070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914379804"/>
                  </a:ext>
                </a:extLst>
              </a:tr>
              <a:tr h="32328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Print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</a:t>
                      </a:r>
                      <a:r>
                        <a:rPr lang="en-US" sz="900">
                          <a:effectLst/>
                          <a:latin typeface="+mj-lt"/>
                        </a:rPr>
                        <a:t>speed (inches per second)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.7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3.4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1.8 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1.8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3.3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.5 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353471715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Print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width maximum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.25”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8.34”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.25”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.25”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.1”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8.0”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1645890420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Resolution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200 x 12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200 x 12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200 x 6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200 x 60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720 x 360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720 x 720</a:t>
                      </a:r>
                      <a:endParaRPr lang="en-US" sz="90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3692968911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BS5609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905201183"/>
                  </a:ext>
                </a:extLst>
              </a:tr>
              <a:tr h="32328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Internal media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</a:t>
                      </a:r>
                      <a:r>
                        <a:rPr lang="en-US" sz="900">
                          <a:effectLst/>
                          <a:latin typeface="+mj-lt"/>
                        </a:rPr>
                        <a:t>support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8” roll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6” roll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8” roll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8” roll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4” roll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ne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471113516"/>
                  </a:ext>
                </a:extLst>
              </a:tr>
              <a:tr h="32328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Rear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media feed support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. Roll &amp; fanfold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t. Roll &amp; fanfold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Ext. Roll &amp; fanfold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Ext. Roll &amp; fanfold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Ext. Roll &amp; fanfold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Tractor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feed &amp; Ext. Roll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687329230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Time to first print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ear instant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ear instant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0-15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seconds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10-15 second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ear instant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ear instant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289322514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High gloss media 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3509708367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Semi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gloss media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1463713925"/>
                  </a:ext>
                </a:extLst>
              </a:tr>
              <a:tr h="32328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Matte</a:t>
                      </a:r>
                      <a:r>
                        <a:rPr lang="en-US" sz="900" baseline="0">
                          <a:effectLst/>
                          <a:latin typeface="+mj-lt"/>
                        </a:rPr>
                        <a:t> media</a:t>
                      </a:r>
                      <a:endParaRPr lang="en-US" sz="900">
                        <a:effectLst/>
                        <a:latin typeface="+mj-lt"/>
                      </a:endParaRP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 – less black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es – less black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 – less black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7590822"/>
                  </a:ext>
                </a:extLst>
              </a:tr>
              <a:tr h="186122">
                <a:tc>
                  <a:txBody>
                    <a:bodyPr/>
                    <a:lstStyle/>
                    <a:p>
                      <a:r>
                        <a:rPr lang="en-US" sz="900">
                          <a:effectLst/>
                          <a:latin typeface="+mj-lt"/>
                        </a:rPr>
                        <a:t>Peeler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Yes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>
                          <a:effectLst/>
                          <a:latin typeface="+mj-lt"/>
                        </a:rPr>
                        <a:t>No</a:t>
                      </a:r>
                    </a:p>
                  </a:txBody>
                  <a:tcPr marL="48962" marR="48962" marT="24481" marB="24481" anchor="ctr"/>
                </a:tc>
                <a:extLst>
                  <a:ext uri="{0D108BD9-81ED-4DB2-BD59-A6C34878D82A}">
                    <a16:rowId xmlns:a16="http://schemas.microsoft.com/office/drawing/2014/main" val="2018744030"/>
                  </a:ext>
                </a:extLst>
              </a:tr>
            </a:tbl>
          </a:graphicData>
        </a:graphic>
      </p:graphicFrame>
      <p:pic>
        <p:nvPicPr>
          <p:cNvPr id="18" name="図 20">
            <a:extLst>
              <a:ext uri="{FF2B5EF4-FFF2-40B4-BE49-F238E27FC236}">
                <a16:creationId xmlns:a16="http://schemas.microsoft.com/office/drawing/2014/main" id="{820BEEA4-9F27-4AF9-99C7-E4BD9718335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4233" y="1409043"/>
            <a:ext cx="778063" cy="589131"/>
          </a:xfrm>
          <a:prstGeom prst="rect">
            <a:avLst/>
          </a:prstGeom>
        </p:spPr>
      </p:pic>
      <p:pic>
        <p:nvPicPr>
          <p:cNvPr id="2050" name="Picture 2" descr="ColorWorks C3500 Color Label Printer">
            <a:extLst>
              <a:ext uri="{FF2B5EF4-FFF2-40B4-BE49-F238E27FC236}">
                <a16:creationId xmlns:a16="http://schemas.microsoft.com/office/drawing/2014/main" id="{A60E4167-B217-4CC9-A50B-DA58FABC82D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95295" y="1312346"/>
            <a:ext cx="698764" cy="646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3D53394-5005-4148-8E92-386B9FD29FA9}"/>
              </a:ext>
            </a:extLst>
          </p:cNvPr>
          <p:cNvSpPr txBox="1"/>
          <p:nvPr/>
        </p:nvSpPr>
        <p:spPr>
          <a:xfrm>
            <a:off x="3162271" y="5079732"/>
            <a:ext cx="422030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25">
                <a:solidFill>
                  <a:schemeClr val="bg1"/>
                </a:solidFill>
              </a:rPr>
              <a:t>MSRP prices effective 10/20/2019</a:t>
            </a:r>
          </a:p>
        </p:txBody>
      </p:sp>
    </p:spTree>
    <p:extLst>
      <p:ext uri="{BB962C8B-B14F-4D97-AF65-F5344CB8AC3E}">
        <p14:creationId xmlns:p14="http://schemas.microsoft.com/office/powerpoint/2010/main" val="10956087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76476-732A-4BBE-967E-8C3F99D9F3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rrent Sales Challe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560E18-C55E-4E09-B2ED-0E777FDDE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762" y="1111660"/>
            <a:ext cx="7763477" cy="3340509"/>
          </a:xfrm>
        </p:spPr>
        <p:txBody>
          <a:bodyPr/>
          <a:lstStyle/>
          <a:p>
            <a:r>
              <a:rPr lang="en-US" sz="2400" dirty="0"/>
              <a:t>How do you convince a customer to replace all their old B&amp;W printers with new B&amp;W printer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Will new printer do anything better? 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Will it save them time or money? 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Will it help improve their efficiency? 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Will it help grow revenue? N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Will it cost a lot? Y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D371B-CFCD-414D-AB64-E15489E3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DAAEE-A9DE-FC47-AAC8-03389D2351D9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599B3F-013C-43F9-9A8F-21DFBCA7973B}"/>
              </a:ext>
            </a:extLst>
          </p:cNvPr>
          <p:cNvSpPr txBox="1"/>
          <p:nvPr/>
        </p:nvSpPr>
        <p:spPr>
          <a:xfrm>
            <a:off x="687690" y="4281202"/>
            <a:ext cx="692247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00" b="1" dirty="0">
                <a:solidFill>
                  <a:srgbClr val="FFFF00"/>
                </a:solidFill>
              </a:rPr>
              <a:t>It’s a Tough Value Proposition to Develop</a:t>
            </a:r>
          </a:p>
        </p:txBody>
      </p:sp>
    </p:spTree>
    <p:extLst>
      <p:ext uri="{BB962C8B-B14F-4D97-AF65-F5344CB8AC3E}">
        <p14:creationId xmlns:p14="http://schemas.microsoft.com/office/powerpoint/2010/main" val="2840840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76476-732A-4BBE-967E-8C3F99D9F3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762" y="347473"/>
            <a:ext cx="8120588" cy="994172"/>
          </a:xfrm>
        </p:spPr>
        <p:txBody>
          <a:bodyPr/>
          <a:lstStyle/>
          <a:p>
            <a:r>
              <a:rPr lang="en-US" dirty="0"/>
              <a:t>New Sales Opportunity with Eps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560E18-C55E-4E09-B2ED-0E777FDDEF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762" y="1111660"/>
            <a:ext cx="7763477" cy="3340509"/>
          </a:xfrm>
        </p:spPr>
        <p:txBody>
          <a:bodyPr/>
          <a:lstStyle/>
          <a:p>
            <a:r>
              <a:rPr lang="en-US" sz="2400" dirty="0"/>
              <a:t>Offer to improve customer’s business with colo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Eliminate waste of pre-printed label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Color code to reduce err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Add pictures to reduce errors and help ID produc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Improved branding to grow sa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Enable private brands and custom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100" dirty="0"/>
              <a:t>Eliminate hassles of ribbons and thermal transfe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D371B-CFCD-414D-AB64-E15489E3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CDAAEE-A9DE-FC47-AAC8-03389D2351D9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5599B3F-013C-43F9-9A8F-21DFBCA7973B}"/>
              </a:ext>
            </a:extLst>
          </p:cNvPr>
          <p:cNvSpPr txBox="1"/>
          <p:nvPr/>
        </p:nvSpPr>
        <p:spPr>
          <a:xfrm>
            <a:off x="687690" y="4281202"/>
            <a:ext cx="692247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00" b="1" dirty="0">
                <a:solidFill>
                  <a:srgbClr val="FFFF00"/>
                </a:solidFill>
              </a:rPr>
              <a:t>Epson Offers Reasons to Flip the Base</a:t>
            </a:r>
          </a:p>
        </p:txBody>
      </p:sp>
    </p:spTree>
    <p:extLst>
      <p:ext uri="{BB962C8B-B14F-4D97-AF65-F5344CB8AC3E}">
        <p14:creationId xmlns:p14="http://schemas.microsoft.com/office/powerpoint/2010/main" val="537465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3452" y="38100"/>
            <a:ext cx="7886700" cy="994172"/>
          </a:xfrm>
        </p:spPr>
        <p:txBody>
          <a:bodyPr/>
          <a:lstStyle/>
          <a:p>
            <a:r>
              <a:rPr lang="en-US" sz="3000" dirty="0"/>
              <a:t>Market Well Served By Great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5" y="1298577"/>
            <a:ext cx="3806866" cy="1488328"/>
          </a:xfrm>
        </p:spPr>
        <p:txBody>
          <a:bodyPr>
            <a:normAutofit fontScale="70000" lnSpcReduction="20000"/>
          </a:bodyPr>
          <a:lstStyle/>
          <a:p>
            <a:r>
              <a:rPr lang="en-US" sz="2700" dirty="0"/>
              <a:t>Wide – Narrow</a:t>
            </a:r>
          </a:p>
          <a:p>
            <a:r>
              <a:rPr lang="en-US" sz="2700" dirty="0"/>
              <a:t>Fast – Slow</a:t>
            </a:r>
          </a:p>
          <a:p>
            <a:r>
              <a:rPr lang="en-US" sz="2700" dirty="0"/>
              <a:t>Portable – Stationary</a:t>
            </a:r>
          </a:p>
          <a:p>
            <a:r>
              <a:rPr lang="en-US" sz="2700" dirty="0"/>
              <a:t>Heavy duty – Light duty</a:t>
            </a:r>
          </a:p>
          <a:p>
            <a:r>
              <a:rPr lang="en-US" sz="2700" dirty="0"/>
              <a:t>High cost – Low cos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79ABF-18B2-42DA-803D-15D25A6D878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2051" name="Picture 3" descr="C:\Users\A05683\Desktop\Projects\Presentations\Graphics\Miscellaneous\Datamax line up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62876" y="1541930"/>
            <a:ext cx="3512671" cy="2578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A05683\Desktop\Projects\Presentations\Graphics\Logos\Datamax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10040" y="3585920"/>
            <a:ext cx="1533525" cy="818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A05683\Desktop\Projects\Presentations\Graphics\Logos\toshiba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3636" y="4058425"/>
            <a:ext cx="1533525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3636" y="1245849"/>
            <a:ext cx="1533525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C:\Users\A05683\Desktop\Projects\Presentations\Graphics\Logos\Sato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9791" y="1245849"/>
            <a:ext cx="1590240" cy="351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620332" y="4120021"/>
            <a:ext cx="6397165" cy="950451"/>
            <a:chOff x="654018" y="4086858"/>
            <a:chExt cx="6397165" cy="950451"/>
          </a:xfrm>
        </p:grpSpPr>
        <p:sp>
          <p:nvSpPr>
            <p:cNvPr id="7" name="TextBox 6"/>
            <p:cNvSpPr txBox="1"/>
            <p:nvPr/>
          </p:nvSpPr>
          <p:spPr>
            <a:xfrm>
              <a:off x="1648399" y="4455458"/>
              <a:ext cx="5402784" cy="40341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US" sz="2000" b="1" dirty="0">
                  <a:ea typeface="ＭＳ Ｐゴシック" charset="-128"/>
                  <a:cs typeface="ＭＳ Ｐゴシック" charset="-128"/>
                </a:rPr>
                <a:t>But All Can Only Print Black and White</a:t>
              </a: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4018" y="4086858"/>
              <a:ext cx="1273800" cy="9504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792089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D7C1B6-6356-419D-AFE2-2E6E776D43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199" y="150568"/>
            <a:ext cx="8313118" cy="994172"/>
          </a:xfrm>
        </p:spPr>
        <p:txBody>
          <a:bodyPr/>
          <a:lstStyle/>
          <a:p>
            <a:r>
              <a:rPr lang="en-US" dirty="0"/>
              <a:t>Epson Introduces Color Solution Ready to Drop Straight Into Action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CD92152-92B2-42E2-A864-799BE045F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5494" y="2299223"/>
            <a:ext cx="3887079" cy="2251984"/>
          </a:xfrm>
        </p:spPr>
        <p:txBody>
          <a:bodyPr>
            <a:normAutofit lnSpcReduction="10000"/>
          </a:bodyPr>
          <a:lstStyle/>
          <a:p>
            <a:pPr marL="214313" indent="-214313">
              <a:spcBef>
                <a:spcPts val="81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ZPL II capability standard</a:t>
            </a:r>
            <a:endParaRPr lang="en-US" sz="1950" dirty="0"/>
          </a:p>
          <a:p>
            <a:pPr marL="214313" indent="-214313">
              <a:spcBef>
                <a:spcPts val="81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Customer can start monochrome and migrate to color as needed</a:t>
            </a:r>
          </a:p>
          <a:p>
            <a:pPr marL="214313" indent="-214313">
              <a:spcBef>
                <a:spcPts val="81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Makes customer trials easy as they don’t have to modify programming to tes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F7A479F-7613-47C0-A07B-88DF817B8B8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5886" y="3118635"/>
            <a:ext cx="1470816" cy="117418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EF7850F-646F-4876-97F6-46474A0FC2D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7444" y="3091645"/>
            <a:ext cx="1261916" cy="12001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C873A0C-DFBD-4095-B70D-E408539F04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7501" y="3118635"/>
            <a:ext cx="1470816" cy="1174181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3991271-8B91-4C00-966E-5B8BC556E78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7334" y="1310902"/>
            <a:ext cx="1485289" cy="857250"/>
          </a:xfrm>
          <a:prstGeom prst="rect">
            <a:avLst/>
          </a:prstGeom>
        </p:spPr>
      </p:pic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143DF8D-C813-4171-9BA1-03699FC158FF}"/>
              </a:ext>
            </a:extLst>
          </p:cNvPr>
          <p:cNvCxnSpPr>
            <a:cxnSpLocks/>
          </p:cNvCxnSpPr>
          <p:nvPr/>
        </p:nvCxnSpPr>
        <p:spPr bwMode="auto">
          <a:xfrm>
            <a:off x="5122165" y="1855255"/>
            <a:ext cx="0" cy="109728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0A8B9C6-47B5-44F9-B8EC-430D4F8B27B1}"/>
              </a:ext>
            </a:extLst>
          </p:cNvPr>
          <p:cNvCxnSpPr>
            <a:cxnSpLocks/>
          </p:cNvCxnSpPr>
          <p:nvPr/>
        </p:nvCxnSpPr>
        <p:spPr bwMode="auto">
          <a:xfrm>
            <a:off x="6305170" y="1855255"/>
            <a:ext cx="0" cy="109728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0DCE9F5-F4C2-4D15-A51D-CDD30268056E}"/>
              </a:ext>
            </a:extLst>
          </p:cNvPr>
          <p:cNvCxnSpPr/>
          <p:nvPr/>
        </p:nvCxnSpPr>
        <p:spPr bwMode="auto">
          <a:xfrm>
            <a:off x="4813555" y="1855255"/>
            <a:ext cx="2048828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0FB0C52-2874-4DF1-A95D-A0420DE63893}"/>
              </a:ext>
            </a:extLst>
          </p:cNvPr>
          <p:cNvCxnSpPr>
            <a:cxnSpLocks/>
          </p:cNvCxnSpPr>
          <p:nvPr/>
        </p:nvCxnSpPr>
        <p:spPr bwMode="auto">
          <a:xfrm>
            <a:off x="8028242" y="1855255"/>
            <a:ext cx="0" cy="109728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rgbClr val="FFFF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7EDF1EF-B5B6-4E7B-834C-1E388E1BB39B}"/>
              </a:ext>
            </a:extLst>
          </p:cNvPr>
          <p:cNvCxnSpPr>
            <a:cxnSpLocks/>
          </p:cNvCxnSpPr>
          <p:nvPr/>
        </p:nvCxnSpPr>
        <p:spPr bwMode="auto">
          <a:xfrm>
            <a:off x="6862382" y="1855255"/>
            <a:ext cx="116586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8E5482B-3325-411B-8EC0-2EC1859D2886}"/>
              </a:ext>
            </a:extLst>
          </p:cNvPr>
          <p:cNvSpPr txBox="1"/>
          <p:nvPr/>
        </p:nvSpPr>
        <p:spPr>
          <a:xfrm>
            <a:off x="5122165" y="1856540"/>
            <a:ext cx="1162200" cy="757130"/>
          </a:xfrm>
          <a:prstGeom prst="rect">
            <a:avLst/>
          </a:prstGeom>
          <a:noFill/>
          <a:ln w="317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40" dirty="0">
                <a:solidFill>
                  <a:schemeClr val="bg1"/>
                </a:solidFill>
              </a:rPr>
              <a:t>Plug-n-Play direct ZPL II print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8C90FD-DD84-467D-B58C-0E3682047D62}"/>
              </a:ext>
            </a:extLst>
          </p:cNvPr>
          <p:cNvSpPr txBox="1"/>
          <p:nvPr/>
        </p:nvSpPr>
        <p:spPr>
          <a:xfrm>
            <a:off x="6452576" y="1502319"/>
            <a:ext cx="1257069" cy="757130"/>
          </a:xfrm>
          <a:prstGeom prst="rect">
            <a:avLst/>
          </a:prstGeom>
          <a:solidFill>
            <a:schemeClr val="bg1"/>
          </a:solidFill>
          <a:ln w="19050">
            <a:solidFill>
              <a:srgbClr val="FFFF00"/>
            </a:solidFill>
            <a:round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40" dirty="0"/>
              <a:t>Add a few data mods to </a:t>
            </a:r>
            <a:r>
              <a:rPr lang="en-US" sz="1440" b="1" dirty="0">
                <a:solidFill>
                  <a:srgbClr val="FF0000"/>
                </a:solidFill>
              </a:rPr>
              <a:t>c</a:t>
            </a:r>
            <a:r>
              <a:rPr lang="en-US" sz="1440" b="1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o</a:t>
            </a:r>
            <a:r>
              <a:rPr lang="en-US" sz="1440" b="1" dirty="0">
                <a:solidFill>
                  <a:schemeClr val="tx2">
                    <a:lumMod val="75000"/>
                  </a:schemeClr>
                </a:solidFill>
              </a:rPr>
              <a:t>l</a:t>
            </a:r>
            <a:r>
              <a:rPr lang="en-US" sz="1440" b="1" dirty="0">
                <a:solidFill>
                  <a:srgbClr val="FFC000"/>
                </a:solidFill>
              </a:rPr>
              <a:t>o</a:t>
            </a:r>
            <a:r>
              <a:rPr lang="en-US" sz="1440" b="1" dirty="0">
                <a:solidFill>
                  <a:schemeClr val="accent3"/>
                </a:solidFill>
              </a:rPr>
              <a:t>r</a:t>
            </a:r>
            <a:r>
              <a:rPr lang="en-US" sz="1440" b="1" dirty="0">
                <a:solidFill>
                  <a:schemeClr val="accent3">
                    <a:lumMod val="50000"/>
                  </a:schemeClr>
                </a:solidFill>
              </a:rPr>
              <a:t>i</a:t>
            </a:r>
            <a:r>
              <a:rPr lang="en-US" sz="144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z</a:t>
            </a:r>
            <a:r>
              <a:rPr lang="en-US" sz="1440" b="1" dirty="0">
                <a:solidFill>
                  <a:schemeClr val="accent2">
                    <a:lumMod val="75000"/>
                  </a:schemeClr>
                </a:solidFill>
              </a:rPr>
              <a:t>e</a:t>
            </a:r>
            <a:endParaRPr lang="en-US" sz="1440" dirty="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355CEE99-2AD0-44FE-9B6A-80C8A148D4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77" y="1326117"/>
            <a:ext cx="2839385" cy="1063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23619AE-05E2-43C4-AD4D-0CB6D7DF1AC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309310" y="4121985"/>
            <a:ext cx="1410746" cy="50426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2226AC89-62C4-4AE8-909D-B7957546E5A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28266" y="4201643"/>
            <a:ext cx="1405909" cy="50253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6FF3150-33BA-468B-8CF3-6C5BCA91D01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5641971" y="4198919"/>
            <a:ext cx="1410746" cy="50426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5853493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rrow: Pentagon 13">
            <a:extLst>
              <a:ext uri="{FF2B5EF4-FFF2-40B4-BE49-F238E27FC236}">
                <a16:creationId xmlns:a16="http://schemas.microsoft.com/office/drawing/2014/main" id="{5400AFF5-615F-4E8F-B98F-0F15C0581E9E}"/>
              </a:ext>
            </a:extLst>
          </p:cNvPr>
          <p:cNvSpPr/>
          <p:nvPr/>
        </p:nvSpPr>
        <p:spPr>
          <a:xfrm rot="10800000">
            <a:off x="5735988" y="2099590"/>
            <a:ext cx="2686026" cy="28558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4211"/>
            <a:endParaRPr lang="en-US" sz="1486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AF2BBC-02A3-4E65-8252-385900D67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lor Adds New Communicating Power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658AFAD-94CB-447A-B751-85B2871476A2}"/>
              </a:ext>
            </a:extLst>
          </p:cNvPr>
          <p:cNvSpPr txBox="1">
            <a:spLocks/>
          </p:cNvSpPr>
          <p:nvPr/>
        </p:nvSpPr>
        <p:spPr>
          <a:xfrm>
            <a:off x="5763302" y="2076435"/>
            <a:ext cx="2519780" cy="463108"/>
          </a:xfrm>
          <a:prstGeom prst="rect">
            <a:avLst/>
          </a:prstGeom>
        </p:spPr>
        <p:txBody>
          <a:bodyPr vert="horz" lIns="76408" tIns="38204" rIns="76408" bIns="38204" rtlCol="0">
            <a:normAutofit/>
          </a:bodyPr>
          <a:lstStyle>
            <a:lvl1pPr marL="274320" indent="-274320" algn="l" defTabSz="113149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6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640080" indent="-228600" algn="l" defTabSz="1131499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2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1097280" indent="-182880" algn="l" defTabSz="1131499" rtl="0" eaLnBrk="1" latinLnBrk="0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146304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82880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3111625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77374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312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0887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73" lvl="1" indent="0" defTabSz="764102">
              <a:spcBef>
                <a:spcPts val="810"/>
              </a:spcBef>
              <a:buClr>
                <a:srgbClr val="F05423"/>
              </a:buClr>
              <a:buNone/>
            </a:pPr>
            <a:r>
              <a:rPr lang="en-US" sz="1621" b="1" spc="-20" dirty="0">
                <a:solidFill>
                  <a:srgbClr val="FFFFFF"/>
                </a:solidFill>
                <a:latin typeface="Arial"/>
              </a:rPr>
              <a:t>Make key info po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419C841-4AB5-4309-9F03-471E2894AE4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169" y="1532388"/>
            <a:ext cx="2149415" cy="30178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DEDF0A-C02A-493B-ADA8-15A3D91F89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8111" y="1532388"/>
            <a:ext cx="2149415" cy="301780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61966FDA-82AC-4B07-8301-4F9DBAF80455}"/>
              </a:ext>
            </a:extLst>
          </p:cNvPr>
          <p:cNvSpPr/>
          <p:nvPr/>
        </p:nvSpPr>
        <p:spPr>
          <a:xfrm rot="10800000">
            <a:off x="5708674" y="3375709"/>
            <a:ext cx="2686026" cy="285584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4211"/>
            <a:endParaRPr lang="en-US" sz="1486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2C13602-FFD1-4598-8138-532783CCC06F}"/>
              </a:ext>
            </a:extLst>
          </p:cNvPr>
          <p:cNvSpPr txBox="1">
            <a:spLocks/>
          </p:cNvSpPr>
          <p:nvPr/>
        </p:nvSpPr>
        <p:spPr>
          <a:xfrm>
            <a:off x="5735988" y="3352554"/>
            <a:ext cx="2519780" cy="463108"/>
          </a:xfrm>
          <a:prstGeom prst="rect">
            <a:avLst/>
          </a:prstGeom>
        </p:spPr>
        <p:txBody>
          <a:bodyPr vert="horz" lIns="76408" tIns="38204" rIns="76408" bIns="38204" rtlCol="0">
            <a:normAutofit/>
          </a:bodyPr>
          <a:lstStyle>
            <a:lvl1pPr marL="274320" indent="-274320" algn="l" defTabSz="113149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6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640080" indent="-228600" algn="l" defTabSz="1131499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2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1097280" indent="-182880" algn="l" defTabSz="1131499" rtl="0" eaLnBrk="1" latinLnBrk="0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146304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82880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3111625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77374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312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0887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73" lvl="1" indent="0" defTabSz="764102">
              <a:spcBef>
                <a:spcPts val="810"/>
              </a:spcBef>
              <a:buClr>
                <a:srgbClr val="F05423"/>
              </a:buClr>
              <a:buNone/>
            </a:pPr>
            <a:r>
              <a:rPr lang="en-US" sz="1621" b="1" spc="-20" dirty="0">
                <a:solidFill>
                  <a:srgbClr val="FFFFFF"/>
                </a:solidFill>
                <a:latin typeface="Arial"/>
              </a:rPr>
              <a:t>Warn &amp; Highlight</a:t>
            </a:r>
          </a:p>
        </p:txBody>
      </p:sp>
    </p:spTree>
    <p:extLst>
      <p:ext uri="{BB962C8B-B14F-4D97-AF65-F5344CB8AC3E}">
        <p14:creationId xmlns:p14="http://schemas.microsoft.com/office/powerpoint/2010/main" val="3271678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row: Pentagon 6">
            <a:extLst>
              <a:ext uri="{FF2B5EF4-FFF2-40B4-BE49-F238E27FC236}">
                <a16:creationId xmlns:a16="http://schemas.microsoft.com/office/drawing/2014/main" id="{C0C2F576-1D40-4931-BACF-DBFE6073944D}"/>
              </a:ext>
            </a:extLst>
          </p:cNvPr>
          <p:cNvSpPr/>
          <p:nvPr/>
        </p:nvSpPr>
        <p:spPr>
          <a:xfrm rot="10800000">
            <a:off x="5844047" y="1461551"/>
            <a:ext cx="1721218" cy="478545"/>
          </a:xfrm>
          <a:prstGeom prst="homePlat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4211"/>
            <a:endParaRPr lang="en-US" sz="1486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443782-CB09-4B46-84FB-0850981DE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26" y="344416"/>
            <a:ext cx="7886700" cy="994172"/>
          </a:xfrm>
        </p:spPr>
        <p:txBody>
          <a:bodyPr/>
          <a:lstStyle/>
          <a:p>
            <a:r>
              <a:rPr lang="en-US" dirty="0"/>
              <a:t>Color can boost safe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02572C6-FA0C-4155-AFBE-45A859CBB96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96" y="1209393"/>
            <a:ext cx="4499353" cy="9828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261D4A1-BEF5-4BAC-9229-5B337BA7192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96" y="2317191"/>
            <a:ext cx="4499353" cy="9828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69760FB-DDB9-4F3E-8482-92E1B1A5BAB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3796" y="3426568"/>
            <a:ext cx="4499353" cy="9828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49E7188-0B38-4D1E-B52D-E8DCEC7AE592}"/>
              </a:ext>
            </a:extLst>
          </p:cNvPr>
          <p:cNvSpPr/>
          <p:nvPr/>
        </p:nvSpPr>
        <p:spPr>
          <a:xfrm rot="10800000">
            <a:off x="5844047" y="2524978"/>
            <a:ext cx="1721218" cy="478545"/>
          </a:xfrm>
          <a:prstGeom prst="homePlat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4211"/>
            <a:endParaRPr lang="en-US" sz="1486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2B4482B7-2D9A-4B99-A79F-3362106BEF92}"/>
              </a:ext>
            </a:extLst>
          </p:cNvPr>
          <p:cNvSpPr/>
          <p:nvPr/>
        </p:nvSpPr>
        <p:spPr>
          <a:xfrm rot="10800000">
            <a:off x="5854338" y="3623573"/>
            <a:ext cx="1721218" cy="478545"/>
          </a:xfrm>
          <a:prstGeom prst="homePlate">
            <a:avLst/>
          </a:prstGeom>
          <a:solidFill>
            <a:srgbClr val="95B5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4211"/>
            <a:endParaRPr lang="en-US" sz="148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3F02F9-AF4A-4067-ABEF-B8F3BCB81359}"/>
              </a:ext>
            </a:extLst>
          </p:cNvPr>
          <p:cNvSpPr txBox="1">
            <a:spLocks/>
          </p:cNvSpPr>
          <p:nvPr/>
        </p:nvSpPr>
        <p:spPr>
          <a:xfrm>
            <a:off x="6006134" y="1499283"/>
            <a:ext cx="1523111" cy="463108"/>
          </a:xfrm>
          <a:prstGeom prst="rect">
            <a:avLst/>
          </a:prstGeom>
        </p:spPr>
        <p:txBody>
          <a:bodyPr vert="horz" lIns="76408" tIns="38204" rIns="76408" bIns="38204" rtlCol="0">
            <a:normAutofit/>
          </a:bodyPr>
          <a:lstStyle>
            <a:lvl1pPr marL="274320" indent="-274320" algn="l" defTabSz="113149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6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640080" indent="-228600" algn="l" defTabSz="1131499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2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1097280" indent="-182880" algn="l" defTabSz="1131499" rtl="0" eaLnBrk="1" latinLnBrk="0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146304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82880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3111625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77374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312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0887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73" lvl="1" indent="0" defTabSz="764102">
              <a:spcBef>
                <a:spcPts val="810"/>
              </a:spcBef>
              <a:buClr>
                <a:srgbClr val="F05423"/>
              </a:buClr>
              <a:buNone/>
            </a:pPr>
            <a:r>
              <a:rPr lang="en-US" sz="2431" b="1" spc="-20" dirty="0">
                <a:solidFill>
                  <a:srgbClr val="FFFFFF"/>
                </a:solidFill>
                <a:latin typeface="Arial"/>
              </a:rPr>
              <a:t>GOOD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E0CFA51-9C38-42E2-BD41-11E23BADF2AA}"/>
              </a:ext>
            </a:extLst>
          </p:cNvPr>
          <p:cNvSpPr txBox="1">
            <a:spLocks/>
          </p:cNvSpPr>
          <p:nvPr/>
        </p:nvSpPr>
        <p:spPr>
          <a:xfrm>
            <a:off x="5854337" y="2539554"/>
            <a:ext cx="1710927" cy="463108"/>
          </a:xfrm>
          <a:prstGeom prst="rect">
            <a:avLst/>
          </a:prstGeom>
        </p:spPr>
        <p:txBody>
          <a:bodyPr vert="horz" lIns="76408" tIns="38204" rIns="76408" bIns="38204" rtlCol="0">
            <a:normAutofit/>
          </a:bodyPr>
          <a:lstStyle>
            <a:lvl1pPr marL="274320" indent="-274320" algn="l" defTabSz="113149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6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640080" indent="-228600" algn="l" defTabSz="1131499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2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1097280" indent="-182880" algn="l" defTabSz="1131499" rtl="0" eaLnBrk="1" latinLnBrk="0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146304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82880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3111625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77374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312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0887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73" lvl="1" indent="0" algn="ctr" defTabSz="764102">
              <a:spcBef>
                <a:spcPts val="810"/>
              </a:spcBef>
              <a:buClr>
                <a:srgbClr val="F05423"/>
              </a:buClr>
              <a:buNone/>
            </a:pPr>
            <a:r>
              <a:rPr lang="en-US" sz="2431" b="1" spc="-20" dirty="0">
                <a:solidFill>
                  <a:srgbClr val="FFFFFF"/>
                </a:solidFill>
                <a:latin typeface="Arial"/>
              </a:rPr>
              <a:t>BETTER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178AE6D-3DCD-419F-893F-05C99858AD7C}"/>
              </a:ext>
            </a:extLst>
          </p:cNvPr>
          <p:cNvSpPr txBox="1">
            <a:spLocks/>
          </p:cNvSpPr>
          <p:nvPr/>
        </p:nvSpPr>
        <p:spPr>
          <a:xfrm>
            <a:off x="5864629" y="3622711"/>
            <a:ext cx="1710927" cy="463108"/>
          </a:xfrm>
          <a:prstGeom prst="rect">
            <a:avLst/>
          </a:prstGeom>
        </p:spPr>
        <p:txBody>
          <a:bodyPr vert="horz" lIns="76408" tIns="38204" rIns="76408" bIns="38204" rtlCol="0">
            <a:normAutofit/>
          </a:bodyPr>
          <a:lstStyle>
            <a:lvl1pPr marL="274320" indent="-274320" algn="l" defTabSz="1131499" rtl="0" eaLnBrk="1" latinLnBrk="0" hangingPunct="1">
              <a:spcBef>
                <a:spcPts val="18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6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640080" indent="-228600" algn="l" defTabSz="1131499" rtl="0" eaLnBrk="1" latinLnBrk="0" hangingPunct="1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32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1097280" indent="-182880" algn="l" defTabSz="1131499" rtl="0" eaLnBrk="1" latinLnBrk="0" hangingPunct="1"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8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146304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828800" indent="-182880" algn="l" defTabSz="1131499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 spc="-30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3111625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77374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4312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08873" indent="-282875" algn="l" defTabSz="113149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73" lvl="1" indent="0" algn="ctr" defTabSz="764102">
              <a:spcBef>
                <a:spcPts val="810"/>
              </a:spcBef>
              <a:buClr>
                <a:srgbClr val="F05423"/>
              </a:buClr>
              <a:buNone/>
            </a:pPr>
            <a:r>
              <a:rPr lang="en-US" sz="2431" b="1" spc="-20" dirty="0">
                <a:solidFill>
                  <a:srgbClr val="FFFFFF"/>
                </a:solidFill>
                <a:latin typeface="Arial"/>
              </a:rPr>
              <a:t>BES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696AD4-203E-49F6-8088-AF7CE9A08D6D}"/>
              </a:ext>
            </a:extLst>
          </p:cNvPr>
          <p:cNvSpPr txBox="1"/>
          <p:nvPr/>
        </p:nvSpPr>
        <p:spPr>
          <a:xfrm>
            <a:off x="5304291" y="4388143"/>
            <a:ext cx="2926799" cy="466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4211"/>
            <a:r>
              <a:rPr lang="en-US" sz="2431" b="1" i="1" dirty="0">
                <a:solidFill>
                  <a:srgbClr val="63666A"/>
                </a:solidFill>
                <a:latin typeface="Arial"/>
              </a:rPr>
              <a:t>The </a:t>
            </a:r>
            <a:r>
              <a:rPr lang="en-US" sz="2431" b="1" i="1" dirty="0">
                <a:solidFill>
                  <a:srgbClr val="FF0000"/>
                </a:solidFill>
                <a:latin typeface="Arial"/>
              </a:rPr>
              <a:t>Allergens</a:t>
            </a:r>
            <a:r>
              <a:rPr lang="en-US" sz="2431" b="1" i="1" dirty="0">
                <a:solidFill>
                  <a:srgbClr val="63666A"/>
                </a:solidFill>
                <a:latin typeface="Arial"/>
              </a:rPr>
              <a:t> Pop</a:t>
            </a:r>
          </a:p>
        </p:txBody>
      </p:sp>
    </p:spTree>
    <p:extLst>
      <p:ext uri="{BB962C8B-B14F-4D97-AF65-F5344CB8AC3E}">
        <p14:creationId xmlns:p14="http://schemas.microsoft.com/office/powerpoint/2010/main" val="545218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D8EE7-4DEB-4264-A76F-77279C7CD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en-US" dirty="0"/>
              <a:t>Safety &amp; Value Ad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BDA749-0388-4DF3-9418-1F57BD6BDF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091" y="897367"/>
            <a:ext cx="3733185" cy="436429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163A332-B9D3-4B90-AD2E-22ADBC41E44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0726" y="3079516"/>
            <a:ext cx="3305950" cy="1927826"/>
          </a:xfrm>
          <a:prstGeom prst="rect">
            <a:avLst/>
          </a:prstGeom>
        </p:spPr>
      </p:pic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A1E8C4D7-2581-42B2-B7E3-23FE96A28C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5288" y="897367"/>
            <a:ext cx="4611511" cy="2715077"/>
          </a:xfrm>
        </p:spPr>
        <p:txBody>
          <a:bodyPr/>
          <a:lstStyle/>
          <a:p>
            <a:r>
              <a:rPr lang="en-US" dirty="0"/>
              <a:t>Patient safety is important</a:t>
            </a:r>
          </a:p>
          <a:p>
            <a:r>
              <a:rPr lang="en-US" dirty="0"/>
              <a:t>Medication errors significant cause of injury</a:t>
            </a:r>
          </a:p>
          <a:p>
            <a:r>
              <a:rPr lang="en-US" dirty="0"/>
              <a:t>Can the label be improved to help reduce errors?</a:t>
            </a:r>
          </a:p>
        </p:txBody>
      </p:sp>
    </p:spTree>
    <p:extLst>
      <p:ext uri="{BB962C8B-B14F-4D97-AF65-F5344CB8AC3E}">
        <p14:creationId xmlns:p14="http://schemas.microsoft.com/office/powerpoint/2010/main" val="11083274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D8EE7-4DEB-4264-A76F-77279C7CD8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0"/>
            <a:ext cx="8229600" cy="952500"/>
          </a:xfrm>
        </p:spPr>
        <p:txBody>
          <a:bodyPr/>
          <a:lstStyle/>
          <a:p>
            <a:r>
              <a:rPr lang="en-US" dirty="0"/>
              <a:t>Safety &amp; Value Ad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BDA749-0388-4DF3-9418-1F57BD6BDF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091" y="897367"/>
            <a:ext cx="3733185" cy="4364298"/>
          </a:xfrm>
          <a:prstGeom prst="rect">
            <a:avLst/>
          </a:prstGeom>
        </p:spPr>
      </p:pic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28FBAB07-2EDE-4454-A80F-020712A5EED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3975" y="3144829"/>
            <a:ext cx="733597" cy="182584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F9295F-391D-40EF-87BE-60575E59D14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5260" y="2583519"/>
            <a:ext cx="469000" cy="3553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A9E7465-44FF-4B7A-A812-72B05FA0C31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7198" y="2969910"/>
            <a:ext cx="899485" cy="146697"/>
          </a:xfrm>
          <a:prstGeom prst="rect">
            <a:avLst/>
          </a:prstGeom>
          <a:scene3d>
            <a:camera prst="orthographicFront">
              <a:rot lat="900000" lon="0" rev="0"/>
            </a:camera>
            <a:lightRig rig="threePt" dir="t"/>
          </a:scene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DC4C3BA-F54F-42D4-9616-4FA7CCB42C2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1085" y="2397320"/>
            <a:ext cx="551758" cy="1399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1125165-E401-4435-9D18-F12CB167A44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1085" y="2583519"/>
            <a:ext cx="361865" cy="357888"/>
          </a:xfrm>
          <a:prstGeom prst="rect">
            <a:avLst/>
          </a:prstGeom>
        </p:spPr>
      </p:pic>
      <p:sp>
        <p:nvSpPr>
          <p:cNvPr id="11" name="Content Placeholder 15">
            <a:extLst>
              <a:ext uri="{FF2B5EF4-FFF2-40B4-BE49-F238E27FC236}">
                <a16:creationId xmlns:a16="http://schemas.microsoft.com/office/drawing/2014/main" id="{F5D5961B-1798-4EC5-B06B-E5336615A506}"/>
              </a:ext>
            </a:extLst>
          </p:cNvPr>
          <p:cNvSpPr txBox="1">
            <a:spLocks/>
          </p:cNvSpPr>
          <p:nvPr/>
        </p:nvSpPr>
        <p:spPr>
          <a:xfrm>
            <a:off x="4075288" y="897367"/>
            <a:ext cx="4818619" cy="42165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8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kern="0" dirty="0">
                <a:solidFill>
                  <a:srgbClr val="FF0000"/>
                </a:solidFill>
              </a:rPr>
              <a:t>Color draws attention to important data</a:t>
            </a:r>
          </a:p>
          <a:p>
            <a:pPr>
              <a:spcBef>
                <a:spcPts val="1200"/>
              </a:spcBef>
            </a:pPr>
            <a:r>
              <a:rPr lang="en-US" kern="0" dirty="0"/>
              <a:t>Photos make identification easier</a:t>
            </a:r>
          </a:p>
          <a:p>
            <a:pPr>
              <a:spcBef>
                <a:spcPts val="1200"/>
              </a:spcBef>
            </a:pPr>
            <a:r>
              <a:rPr lang="en-US" kern="0" dirty="0"/>
              <a:t>Label is easier to understand</a:t>
            </a:r>
          </a:p>
          <a:p>
            <a:pPr>
              <a:spcBef>
                <a:spcPts val="1200"/>
              </a:spcBef>
            </a:pPr>
            <a:r>
              <a:rPr lang="en-US" kern="0" dirty="0"/>
              <a:t>Computer system automatically draws all elements reducing human error</a:t>
            </a:r>
          </a:p>
          <a:p>
            <a:pPr>
              <a:spcBef>
                <a:spcPts val="1200"/>
              </a:spcBef>
            </a:pPr>
            <a:r>
              <a:rPr lang="en-US" kern="0" dirty="0"/>
              <a:t>Product looks </a:t>
            </a:r>
            <a:r>
              <a:rPr lang="en-US" kern="0" dirty="0">
                <a:solidFill>
                  <a:srgbClr val="FF0000"/>
                </a:solidFill>
              </a:rPr>
              <a:t>customized</a:t>
            </a:r>
            <a:r>
              <a:rPr lang="en-US" kern="0" dirty="0"/>
              <a:t> and </a:t>
            </a:r>
            <a:r>
              <a:rPr lang="en-US" kern="0" dirty="0">
                <a:solidFill>
                  <a:srgbClr val="FF0000"/>
                </a:solidFill>
              </a:rPr>
              <a:t>personal</a:t>
            </a:r>
          </a:p>
        </p:txBody>
      </p:sp>
    </p:spTree>
    <p:extLst>
      <p:ext uri="{BB962C8B-B14F-4D97-AF65-F5344CB8AC3E}">
        <p14:creationId xmlns:p14="http://schemas.microsoft.com/office/powerpoint/2010/main" val="658027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91620" y="952499"/>
            <a:ext cx="5449584" cy="4205127"/>
          </a:xfrm>
        </p:spPr>
        <p:txBody>
          <a:bodyPr>
            <a:normAutofit/>
          </a:bodyPr>
          <a:lstStyle/>
          <a:p>
            <a:r>
              <a:rPr lang="en-US" dirty="0"/>
              <a:t>Driver is improved patient safety</a:t>
            </a:r>
          </a:p>
          <a:p>
            <a:pPr lvl="1"/>
            <a:r>
              <a:rPr lang="en-US" dirty="0"/>
              <a:t>Pictures to clearly identify medication and patient</a:t>
            </a:r>
          </a:p>
          <a:p>
            <a:pPr lvl="2"/>
            <a:r>
              <a:rPr lang="en-US" dirty="0"/>
              <a:t>Helps eliminate errors among family members</a:t>
            </a:r>
          </a:p>
          <a:p>
            <a:pPr lvl="1"/>
            <a:r>
              <a:rPr lang="en-US" dirty="0"/>
              <a:t>Automatic color coded warnings</a:t>
            </a:r>
          </a:p>
          <a:p>
            <a:r>
              <a:rPr lang="en-US" dirty="0"/>
              <a:t>Targeted at retail pharmac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1620" y="-2997"/>
            <a:ext cx="6128536" cy="952500"/>
          </a:xfrm>
        </p:spPr>
        <p:txBody>
          <a:bodyPr/>
          <a:lstStyle/>
          <a:p>
            <a:r>
              <a:rPr lang="en-US" dirty="0"/>
              <a:t>Retail - Pharmac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5866" y="216692"/>
            <a:ext cx="2825393" cy="5065398"/>
          </a:xfrm>
          <a:prstGeom prst="rect">
            <a:avLst/>
          </a:prstGeom>
          <a:ln w="12700">
            <a:solidFill>
              <a:schemeClr val="tx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F09C2BAA-BEDD-4354-8082-5EF4E9F9096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9084" y="3517515"/>
            <a:ext cx="3532120" cy="176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71578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0262" y="709388"/>
            <a:ext cx="5131086" cy="4366520"/>
          </a:xfrm>
        </p:spPr>
        <p:txBody>
          <a:bodyPr>
            <a:normAutofit/>
          </a:bodyPr>
          <a:lstStyle/>
          <a:p>
            <a:r>
              <a:rPr lang="en-US" dirty="0"/>
              <a:t>Printer embedded on cart</a:t>
            </a:r>
          </a:p>
          <a:p>
            <a:r>
              <a:rPr lang="en-US" dirty="0"/>
              <a:t>Needs small footprint</a:t>
            </a:r>
          </a:p>
          <a:p>
            <a:r>
              <a:rPr lang="en-US" dirty="0"/>
              <a:t>Must print small labels</a:t>
            </a:r>
          </a:p>
          <a:p>
            <a:r>
              <a:rPr lang="en-US" dirty="0"/>
              <a:t>Medical grade power supply</a:t>
            </a:r>
          </a:p>
          <a:p>
            <a:r>
              <a:rPr lang="en-US" dirty="0"/>
              <a:t>Short print runs and low volume</a:t>
            </a:r>
          </a:p>
          <a:p>
            <a:r>
              <a:rPr lang="en-US" dirty="0"/>
              <a:t>Epson engages in direct sal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90764" y="-140842"/>
            <a:ext cx="8229600" cy="952500"/>
          </a:xfrm>
        </p:spPr>
        <p:txBody>
          <a:bodyPr/>
          <a:lstStyle/>
          <a:p>
            <a:r>
              <a:rPr lang="en-US" dirty="0"/>
              <a:t>Medical Hospital – Custom drug lab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247244" y="1308140"/>
            <a:ext cx="4366520" cy="3169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192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6&quot;&gt;&lt;elem m_fUsage=&quot;1.85093099999999990000E+000&quot;&gt;&lt;m_msothmcolidx val=&quot;0&quot;/&gt;&lt;m_rgb r=&quot;4&quot; g=&quot;73&quot; b=&quot;15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f&quot; g=&quot;b4&quot; b=&quot;42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70&quot; g=&quot;30&quot; b=&quot;a0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6&quot; g=&quot;c4&quot; b=&quot;2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9&quot; g=&quot;f7&quot; b=&quot;2d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32&quot; g=&quot;8c&quot; b=&quot;a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40517 PPT CES footer">
  <a:themeElements>
    <a:clrScheme name="EPSON TEMPLATE COLORS">
      <a:dk1>
        <a:srgbClr val="000000"/>
      </a:dk1>
      <a:lt1>
        <a:srgbClr val="FFFFFF"/>
      </a:lt1>
      <a:dk2>
        <a:srgbClr val="363F7E"/>
      </a:dk2>
      <a:lt2>
        <a:srgbClr val="7F7F7F"/>
      </a:lt2>
      <a:accent1>
        <a:srgbClr val="0091CE"/>
      </a:accent1>
      <a:accent2>
        <a:srgbClr val="FD9A00"/>
      </a:accent2>
      <a:accent3>
        <a:srgbClr val="66B132"/>
      </a:accent3>
      <a:accent4>
        <a:srgbClr val="A8184B"/>
      </a:accent4>
      <a:accent5>
        <a:srgbClr val="84DDFD"/>
      </a:accent5>
      <a:accent6>
        <a:srgbClr val="9A9A9A"/>
      </a:accent6>
      <a:hlink>
        <a:srgbClr val="009999"/>
      </a:hlink>
      <a:folHlink>
        <a:srgbClr val="2626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C40517 PPT CES foo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C40517 PPT CES footer">
  <a:themeElements>
    <a:clrScheme name="EPSON TEMPLATE COLORS">
      <a:dk1>
        <a:srgbClr val="000000"/>
      </a:dk1>
      <a:lt1>
        <a:srgbClr val="FFFFFF"/>
      </a:lt1>
      <a:dk2>
        <a:srgbClr val="363F7E"/>
      </a:dk2>
      <a:lt2>
        <a:srgbClr val="7F7F7F"/>
      </a:lt2>
      <a:accent1>
        <a:srgbClr val="0091CE"/>
      </a:accent1>
      <a:accent2>
        <a:srgbClr val="FD9A00"/>
      </a:accent2>
      <a:accent3>
        <a:srgbClr val="66B132"/>
      </a:accent3>
      <a:accent4>
        <a:srgbClr val="A8184B"/>
      </a:accent4>
      <a:accent5>
        <a:srgbClr val="84DDFD"/>
      </a:accent5>
      <a:accent6>
        <a:srgbClr val="9A9A9A"/>
      </a:accent6>
      <a:hlink>
        <a:srgbClr val="009999"/>
      </a:hlink>
      <a:folHlink>
        <a:srgbClr val="2626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C40517 PPT CES foo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2019 EP">
      <a:dk1>
        <a:srgbClr val="343433"/>
      </a:dk1>
      <a:lt1>
        <a:srgbClr val="FFFFFF"/>
      </a:lt1>
      <a:dk2>
        <a:srgbClr val="343433"/>
      </a:dk2>
      <a:lt2>
        <a:srgbClr val="E7E6E6"/>
      </a:lt2>
      <a:accent1>
        <a:srgbClr val="1B75BC"/>
      </a:accent1>
      <a:accent2>
        <a:srgbClr val="27AAE1"/>
      </a:accent2>
      <a:accent3>
        <a:srgbClr val="F7931D"/>
      </a:accent3>
      <a:accent4>
        <a:srgbClr val="B77020"/>
      </a:accent4>
      <a:accent5>
        <a:srgbClr val="767776"/>
      </a:accent5>
      <a:accent6>
        <a:srgbClr val="9E9F9E"/>
      </a:accent6>
      <a:hlink>
        <a:srgbClr val="27AAE1"/>
      </a:hlink>
      <a:folHlink>
        <a:srgbClr val="1B75B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C40517 PPT CES footer">
  <a:themeElements>
    <a:clrScheme name="EPSON TEMPLATE COLORS">
      <a:dk1>
        <a:srgbClr val="000000"/>
      </a:dk1>
      <a:lt1>
        <a:srgbClr val="FFFFFF"/>
      </a:lt1>
      <a:dk2>
        <a:srgbClr val="363F7E"/>
      </a:dk2>
      <a:lt2>
        <a:srgbClr val="7F7F7F"/>
      </a:lt2>
      <a:accent1>
        <a:srgbClr val="0091CE"/>
      </a:accent1>
      <a:accent2>
        <a:srgbClr val="FD9A00"/>
      </a:accent2>
      <a:accent3>
        <a:srgbClr val="66B132"/>
      </a:accent3>
      <a:accent4>
        <a:srgbClr val="A8184B"/>
      </a:accent4>
      <a:accent5>
        <a:srgbClr val="84DDFD"/>
      </a:accent5>
      <a:accent6>
        <a:srgbClr val="9A9A9A"/>
      </a:accent6>
      <a:hlink>
        <a:srgbClr val="009999"/>
      </a:hlink>
      <a:folHlink>
        <a:srgbClr val="26267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>
            <a:ln>
              <a:noFill/>
            </a:ln>
            <a:solidFill>
              <a:srgbClr val="000000"/>
            </a:solidFill>
            <a:effectLst/>
            <a:latin typeface="Arial" charset="0"/>
            <a:ea typeface="ＭＳ Ｐゴシック" charset="0"/>
            <a:cs typeface="ＭＳ Ｐゴシック" charset="0"/>
          </a:defRPr>
        </a:defPPr>
      </a:lstStyle>
    </a:lnDef>
  </a:objectDefaults>
  <a:extraClrSchemeLst>
    <a:extraClrScheme>
      <a:clrScheme name="C40517 PPT CES foo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40517 PPT CES foo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40517 PPT CES foo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Eps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0_Epson">
      <a:majorFont>
        <a:latin typeface="Arial"/>
        <a:ea typeface="MS PGothic"/>
        <a:cs typeface="ＭＳ Ｐゴシック"/>
      </a:majorFont>
      <a:minorFont>
        <a:latin typeface="Arial"/>
        <a:ea typeface="MS PGothic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411073C8F1D4C943635A8B3F677C7" ma:contentTypeVersion="12" ma:contentTypeDescription="Create a new document." ma:contentTypeScope="" ma:versionID="91e5aa42ff519ec0a16037d1ba3706af">
  <xsd:schema xmlns:xsd="http://www.w3.org/2001/XMLSchema" xmlns:xs="http://www.w3.org/2001/XMLSchema" xmlns:p="http://schemas.microsoft.com/office/2006/metadata/properties" xmlns:ns2="da45004a-92cd-4c6c-b906-a22c744f475a" xmlns:ns3="6226db20-d253-4cfa-911a-4285a1e03031" targetNamespace="http://schemas.microsoft.com/office/2006/metadata/properties" ma:root="true" ma:fieldsID="b523615a93f9ba8c65ba9296d622eee7" ns2:_="" ns3:_="">
    <xsd:import namespace="da45004a-92cd-4c6c-b906-a22c744f475a"/>
    <xsd:import namespace="6226db20-d253-4cfa-911a-4285a1e0303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45004a-92cd-4c6c-b906-a22c744f47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26db20-d253-4cfa-911a-4285a1e0303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9B3D67-3CAC-4299-8C40-CF9461DD74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5491A5F-B172-4D94-AEDA-2C596B06FB98}">
  <ds:schemaRefs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da45004a-92cd-4c6c-b906-a22c744f475a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6226db20-d253-4cfa-911a-4285a1e03031"/>
  </ds:schemaRefs>
</ds:datastoreItem>
</file>

<file path=customXml/itemProps3.xml><?xml version="1.0" encoding="utf-8"?>
<ds:datastoreItem xmlns:ds="http://schemas.openxmlformats.org/officeDocument/2006/customXml" ds:itemID="{235469FD-0798-4823-BC7F-A9D1577B16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45004a-92cd-4c6c-b906-a22c744f475a"/>
    <ds:schemaRef ds:uri="6226db20-d253-4cfa-911a-4285a1e0303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60</TotalTime>
  <Words>1014</Words>
  <Application>Microsoft Office PowerPoint</Application>
  <PresentationFormat>On-screen Show (16:10)</PresentationFormat>
  <Paragraphs>228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Calibri</vt:lpstr>
      <vt:lpstr>Courier New</vt:lpstr>
      <vt:lpstr>Wingdings</vt:lpstr>
      <vt:lpstr>1_C40517 PPT CES footer</vt:lpstr>
      <vt:lpstr>2_C40517 PPT CES footer</vt:lpstr>
      <vt:lpstr>Office Theme</vt:lpstr>
      <vt:lpstr>3_C40517 PPT CES footer</vt:lpstr>
      <vt:lpstr>10_Epson</vt:lpstr>
      <vt:lpstr>think-cell Slide</vt:lpstr>
      <vt:lpstr>Color label printing opportunities within hEalthcare</vt:lpstr>
      <vt:lpstr>Market Well Served By Great Products</vt:lpstr>
      <vt:lpstr>Epson Introduces Color Solution Ready to Drop Straight Into Action</vt:lpstr>
      <vt:lpstr>Color Adds New Communicating Power</vt:lpstr>
      <vt:lpstr>Color can boost safety</vt:lpstr>
      <vt:lpstr>Safety &amp; Value Add</vt:lpstr>
      <vt:lpstr>Safety &amp; Value Add</vt:lpstr>
      <vt:lpstr>Retail - Pharmacy</vt:lpstr>
      <vt:lpstr>Medical Hospital – Custom drug label</vt:lpstr>
      <vt:lpstr>Prints Syringe Label Dynamically</vt:lpstr>
      <vt:lpstr>Medical Hospital – Custom Drug Label</vt:lpstr>
      <vt:lpstr>Medical Devices Demand Color</vt:lpstr>
      <vt:lpstr>Nutraceutical and Supplement Labels</vt:lpstr>
      <vt:lpstr>Wrist ID Bands</vt:lpstr>
      <vt:lpstr>Color Enables Fast Reaction</vt:lpstr>
      <vt:lpstr>In-House Pharmacy Value Proposition</vt:lpstr>
      <vt:lpstr>Product Selector</vt:lpstr>
      <vt:lpstr>Current Sales Challenge</vt:lpstr>
      <vt:lpstr>New Sales Opportunity with Epson</vt:lpstr>
    </vt:vector>
  </TitlesOfParts>
  <Company>EAI Us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ya Williams</dc:creator>
  <cp:lastModifiedBy>Brianna Moriarty</cp:lastModifiedBy>
  <cp:revision>275</cp:revision>
  <cp:lastPrinted>2014-06-02T18:17:10Z</cp:lastPrinted>
  <dcterms:created xsi:type="dcterms:W3CDTF">2014-05-01T18:00:22Z</dcterms:created>
  <dcterms:modified xsi:type="dcterms:W3CDTF">2023-03-17T19:4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411073C8F1D4C943635A8B3F677C7</vt:lpwstr>
  </property>
</Properties>
</file>